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drawing7.xml" ContentType="application/vnd.ms-office.drawingml.diagramDrawing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Default Extension="png" ContentType="image/png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Default Extension="gif" ContentType="image/gif"/>
  <Override PartName="/ppt/notesSlides/notesSlide8.xml" ContentType="application/vnd.openxmlformats-officedocument.presentationml.notesSlide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diagrams/drawing9.xml" ContentType="application/vnd.ms-office.drawingml.diagramDrawing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layout11.xml" ContentType="application/vnd.openxmlformats-officedocument.drawingml.diagramLayout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iagrams/colors10.xml" ContentType="application/vnd.openxmlformats-officedocument.drawingml.diagramColors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diagrams/data9.xml" ContentType="application/vnd.openxmlformats-officedocument.drawingml.diagramData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29" r:id="rId2"/>
    <p:sldMasterId id="2147483745" r:id="rId3"/>
    <p:sldMasterId id="2147483758" r:id="rId4"/>
    <p:sldMasterId id="2147483780" r:id="rId5"/>
  </p:sldMasterIdLst>
  <p:notesMasterIdLst>
    <p:notesMasterId r:id="rId47"/>
  </p:notesMasterIdLst>
  <p:handoutMasterIdLst>
    <p:handoutMasterId r:id="rId48"/>
  </p:handoutMasterIdLst>
  <p:sldIdLst>
    <p:sldId id="427" r:id="rId6"/>
    <p:sldId id="492" r:id="rId7"/>
    <p:sldId id="516" r:id="rId8"/>
    <p:sldId id="517" r:id="rId9"/>
    <p:sldId id="493" r:id="rId10"/>
    <p:sldId id="494" r:id="rId11"/>
    <p:sldId id="495" r:id="rId12"/>
    <p:sldId id="496" r:id="rId13"/>
    <p:sldId id="497" r:id="rId14"/>
    <p:sldId id="518" r:id="rId15"/>
    <p:sldId id="499" r:id="rId16"/>
    <p:sldId id="500" r:id="rId17"/>
    <p:sldId id="501" r:id="rId18"/>
    <p:sldId id="502" r:id="rId19"/>
    <p:sldId id="503" r:id="rId20"/>
    <p:sldId id="519" r:id="rId21"/>
    <p:sldId id="520" r:id="rId22"/>
    <p:sldId id="521" r:id="rId23"/>
    <p:sldId id="504" r:id="rId24"/>
    <p:sldId id="505" r:id="rId25"/>
    <p:sldId id="522" r:id="rId26"/>
    <p:sldId id="506" r:id="rId27"/>
    <p:sldId id="523" r:id="rId28"/>
    <p:sldId id="524" r:id="rId29"/>
    <p:sldId id="507" r:id="rId30"/>
    <p:sldId id="508" r:id="rId31"/>
    <p:sldId id="509" r:id="rId32"/>
    <p:sldId id="510" r:id="rId33"/>
    <p:sldId id="511" r:id="rId34"/>
    <p:sldId id="512" r:id="rId35"/>
    <p:sldId id="513" r:id="rId36"/>
    <p:sldId id="514" r:id="rId37"/>
    <p:sldId id="515" r:id="rId38"/>
    <p:sldId id="532" r:id="rId39"/>
    <p:sldId id="526" r:id="rId40"/>
    <p:sldId id="527" r:id="rId41"/>
    <p:sldId id="528" r:id="rId42"/>
    <p:sldId id="529" r:id="rId43"/>
    <p:sldId id="530" r:id="rId44"/>
    <p:sldId id="531" r:id="rId45"/>
    <p:sldId id="323" r:id="rId4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Default Section" id="{42C7C62C-6075-426B-B9CE-B65FA7FF71B9}">
          <p14:sldIdLst>
            <p14:sldId id="427"/>
            <p14:sldId id="492"/>
            <p14:sldId id="516"/>
            <p14:sldId id="517"/>
            <p14:sldId id="493"/>
            <p14:sldId id="494"/>
            <p14:sldId id="495"/>
            <p14:sldId id="496"/>
            <p14:sldId id="497"/>
            <p14:sldId id="518"/>
            <p14:sldId id="499"/>
            <p14:sldId id="500"/>
            <p14:sldId id="501"/>
            <p14:sldId id="502"/>
            <p14:sldId id="503"/>
            <p14:sldId id="519"/>
            <p14:sldId id="520"/>
            <p14:sldId id="521"/>
            <p14:sldId id="504"/>
            <p14:sldId id="505"/>
            <p14:sldId id="522"/>
            <p14:sldId id="506"/>
            <p14:sldId id="523"/>
            <p14:sldId id="524"/>
            <p14:sldId id="507"/>
            <p14:sldId id="508"/>
            <p14:sldId id="509"/>
            <p14:sldId id="510"/>
            <p14:sldId id="511"/>
            <p14:sldId id="512"/>
            <p14:sldId id="513"/>
            <p14:sldId id="514"/>
            <p14:sldId id="515"/>
            <p14:sldId id="323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F6613"/>
    <a:srgbClr val="E1DAD2"/>
    <a:srgbClr val="F3F0ED"/>
    <a:srgbClr val="649B3F"/>
    <a:srgbClr val="FEFEFE"/>
    <a:srgbClr val="3A5896"/>
    <a:srgbClr val="283F19"/>
    <a:srgbClr val="2E471D"/>
    <a:srgbClr val="324D1F"/>
    <a:srgbClr val="4D7731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987" autoAdjust="0"/>
    <p:restoredTop sz="81900" autoAdjust="0"/>
  </p:normalViewPr>
  <p:slideViewPr>
    <p:cSldViewPr snapToGrid="0">
      <p:cViewPr varScale="1">
        <p:scale>
          <a:sx n="59" d="100"/>
          <a:sy n="59" d="100"/>
        </p:scale>
        <p:origin x="-1098" y="-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489A9C-78E2-48DD-B767-0AB4A51E0984}" type="doc">
      <dgm:prSet loTypeId="urn:microsoft.com/office/officeart/2005/8/layout/vList6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3B7CFA90-04CF-4F74-9648-2B4F88764645}">
      <dgm:prSet phldrT="[Текст]"/>
      <dgm:spPr/>
      <dgm:t>
        <a:bodyPr/>
        <a:lstStyle/>
        <a:p>
          <a:r>
            <a:rPr lang="uk-UA" dirty="0" smtClean="0"/>
            <a:t>Відкриті</a:t>
          </a:r>
          <a:endParaRPr lang="ru-RU" dirty="0"/>
        </a:p>
      </dgm:t>
    </dgm:pt>
    <dgm:pt modelId="{D211CA8E-6BA1-4302-83E9-D1AB145852BB}" type="parTrans" cxnId="{FDC6E883-41B7-4834-9B5C-F080253877AB}">
      <dgm:prSet/>
      <dgm:spPr/>
      <dgm:t>
        <a:bodyPr/>
        <a:lstStyle/>
        <a:p>
          <a:endParaRPr lang="ru-RU"/>
        </a:p>
      </dgm:t>
    </dgm:pt>
    <dgm:pt modelId="{B06464FD-8557-4DD6-B860-42CB9687ED80}" type="sibTrans" cxnId="{FDC6E883-41B7-4834-9B5C-F080253877AB}">
      <dgm:prSet/>
      <dgm:spPr/>
      <dgm:t>
        <a:bodyPr/>
        <a:lstStyle/>
        <a:p>
          <a:endParaRPr lang="ru-RU"/>
        </a:p>
      </dgm:t>
    </dgm:pt>
    <dgm:pt modelId="{76DC9F2C-8BB4-475B-AB3E-08CF42F58809}">
      <dgm:prSet phldrT="[Текст]"/>
      <dgm:spPr/>
      <dgm:t>
        <a:bodyPr/>
        <a:lstStyle/>
        <a:p>
          <a:r>
            <a:rPr lang="uk-UA" dirty="0" smtClean="0"/>
            <a:t>Сервіси, доступні для всіх користувачів та відвідувачів</a:t>
          </a:r>
          <a:endParaRPr lang="ru-RU" dirty="0"/>
        </a:p>
      </dgm:t>
    </dgm:pt>
    <dgm:pt modelId="{A648C955-3B27-4DD6-B9AD-DD6D7E517E69}" type="parTrans" cxnId="{4B77EED3-2D2A-477E-A8AF-D4559543FA73}">
      <dgm:prSet/>
      <dgm:spPr/>
      <dgm:t>
        <a:bodyPr/>
        <a:lstStyle/>
        <a:p>
          <a:endParaRPr lang="ru-RU"/>
        </a:p>
      </dgm:t>
    </dgm:pt>
    <dgm:pt modelId="{CB409A13-0E2E-441E-95F7-0A1B10640498}" type="sibTrans" cxnId="{4B77EED3-2D2A-477E-A8AF-D4559543FA73}">
      <dgm:prSet/>
      <dgm:spPr/>
      <dgm:t>
        <a:bodyPr/>
        <a:lstStyle/>
        <a:p>
          <a:endParaRPr lang="ru-RU"/>
        </a:p>
      </dgm:t>
    </dgm:pt>
    <dgm:pt modelId="{621FF9F5-B6B1-4D69-8F7E-2C2C041B1158}">
      <dgm:prSet phldrT="[Текст]"/>
      <dgm:spPr/>
      <dgm:t>
        <a:bodyPr/>
        <a:lstStyle/>
        <a:p>
          <a:r>
            <a:rPr lang="uk-UA" dirty="0" smtClean="0"/>
            <a:t>Напіввідкриті</a:t>
          </a:r>
          <a:endParaRPr lang="ru-RU" dirty="0"/>
        </a:p>
      </dgm:t>
    </dgm:pt>
    <dgm:pt modelId="{30710950-0180-403F-AC62-0793ECF877BA}" type="parTrans" cxnId="{0847B19D-B12E-40A1-824B-8EE9A05B415B}">
      <dgm:prSet/>
      <dgm:spPr/>
      <dgm:t>
        <a:bodyPr/>
        <a:lstStyle/>
        <a:p>
          <a:endParaRPr lang="ru-RU"/>
        </a:p>
      </dgm:t>
    </dgm:pt>
    <dgm:pt modelId="{D8C4D870-0D0F-4AF2-9C83-5A89F6B52F9C}" type="sibTrans" cxnId="{0847B19D-B12E-40A1-824B-8EE9A05B415B}">
      <dgm:prSet/>
      <dgm:spPr/>
      <dgm:t>
        <a:bodyPr/>
        <a:lstStyle/>
        <a:p>
          <a:endParaRPr lang="ru-RU"/>
        </a:p>
      </dgm:t>
    </dgm:pt>
    <dgm:pt modelId="{7D15EB7F-D397-49DF-B75E-9E10DF67D5E9}">
      <dgm:prSet phldrT="[Текст]"/>
      <dgm:spPr/>
      <dgm:t>
        <a:bodyPr/>
        <a:lstStyle/>
        <a:p>
          <a:r>
            <a:rPr lang="uk-UA" dirty="0" smtClean="0"/>
            <a:t>Сервіси, що передбачають реєстрацію користувачів</a:t>
          </a:r>
          <a:endParaRPr lang="ru-RU" dirty="0"/>
        </a:p>
      </dgm:t>
    </dgm:pt>
    <dgm:pt modelId="{63987989-4792-4AFC-9FF8-323291A32E1A}" type="parTrans" cxnId="{787931F3-F44F-411F-9CE9-58E4A17315D2}">
      <dgm:prSet/>
      <dgm:spPr/>
      <dgm:t>
        <a:bodyPr/>
        <a:lstStyle/>
        <a:p>
          <a:endParaRPr lang="ru-RU"/>
        </a:p>
      </dgm:t>
    </dgm:pt>
    <dgm:pt modelId="{64BFA16D-5913-4400-A4EE-0C6CCC358DF4}" type="sibTrans" cxnId="{787931F3-F44F-411F-9CE9-58E4A17315D2}">
      <dgm:prSet/>
      <dgm:spPr/>
      <dgm:t>
        <a:bodyPr/>
        <a:lstStyle/>
        <a:p>
          <a:endParaRPr lang="ru-RU"/>
        </a:p>
      </dgm:t>
    </dgm:pt>
    <dgm:pt modelId="{EDFAFE9F-3124-4290-A252-78FA301CEC32}">
      <dgm:prSet phldrT="[Текст]"/>
      <dgm:spPr/>
      <dgm:t>
        <a:bodyPr/>
        <a:lstStyle/>
        <a:p>
          <a:r>
            <a:rPr lang="uk-UA" dirty="0" smtClean="0"/>
            <a:t>Закриті</a:t>
          </a:r>
          <a:endParaRPr lang="ru-RU" dirty="0"/>
        </a:p>
      </dgm:t>
    </dgm:pt>
    <dgm:pt modelId="{57F926A7-A5FC-4A99-AF26-80CB0E412BE3}" type="parTrans" cxnId="{2849A7C1-8E46-4950-B7D4-A2D87A8E5796}">
      <dgm:prSet/>
      <dgm:spPr/>
      <dgm:t>
        <a:bodyPr/>
        <a:lstStyle/>
        <a:p>
          <a:endParaRPr lang="ru-RU"/>
        </a:p>
      </dgm:t>
    </dgm:pt>
    <dgm:pt modelId="{BF8485A3-AD25-4B7B-A1C3-A75370BE4749}" type="sibTrans" cxnId="{2849A7C1-8E46-4950-B7D4-A2D87A8E5796}">
      <dgm:prSet/>
      <dgm:spPr/>
      <dgm:t>
        <a:bodyPr/>
        <a:lstStyle/>
        <a:p>
          <a:endParaRPr lang="ru-RU"/>
        </a:p>
      </dgm:t>
    </dgm:pt>
    <dgm:pt modelId="{D87CCFF1-0B1B-4CCC-995F-9D4102360B7A}">
      <dgm:prSet/>
      <dgm:spPr/>
      <dgm:t>
        <a:bodyPr/>
        <a:lstStyle/>
        <a:p>
          <a:r>
            <a:rPr lang="uk-UA" dirty="0" smtClean="0"/>
            <a:t>Закриті службові сайти</a:t>
          </a:r>
          <a:endParaRPr lang="ru-RU" dirty="0"/>
        </a:p>
      </dgm:t>
    </dgm:pt>
    <dgm:pt modelId="{7689BD21-5AAE-4C92-9C42-F74134DEED47}" type="parTrans" cxnId="{E7BA0B80-732F-435E-B116-97FB27848DFA}">
      <dgm:prSet/>
      <dgm:spPr/>
      <dgm:t>
        <a:bodyPr/>
        <a:lstStyle/>
        <a:p>
          <a:endParaRPr lang="ru-RU"/>
        </a:p>
      </dgm:t>
    </dgm:pt>
    <dgm:pt modelId="{B4819887-B3E0-4504-A996-C7C8EA10FB22}" type="sibTrans" cxnId="{E7BA0B80-732F-435E-B116-97FB27848DFA}">
      <dgm:prSet/>
      <dgm:spPr/>
      <dgm:t>
        <a:bodyPr/>
        <a:lstStyle/>
        <a:p>
          <a:endParaRPr lang="ru-RU"/>
        </a:p>
      </dgm:t>
    </dgm:pt>
    <dgm:pt modelId="{2A43B805-813B-42DC-82F2-C8BA0F84F076}">
      <dgm:prSet/>
      <dgm:spPr/>
      <dgm:t>
        <a:bodyPr/>
        <a:lstStyle/>
        <a:p>
          <a:endParaRPr lang="ru-RU" dirty="0"/>
        </a:p>
      </dgm:t>
    </dgm:pt>
    <dgm:pt modelId="{534EAFBB-86BF-4290-BD85-BCA64ADB7B13}" type="parTrans" cxnId="{0368CC5B-A207-4BA3-AB71-485FAAF254E2}">
      <dgm:prSet/>
      <dgm:spPr/>
      <dgm:t>
        <a:bodyPr/>
        <a:lstStyle/>
        <a:p>
          <a:endParaRPr lang="ru-RU"/>
        </a:p>
      </dgm:t>
    </dgm:pt>
    <dgm:pt modelId="{F70EC4C1-FC03-4EEC-A6F9-F19FB47A905A}" type="sibTrans" cxnId="{0368CC5B-A207-4BA3-AB71-485FAAF254E2}">
      <dgm:prSet/>
      <dgm:spPr/>
      <dgm:t>
        <a:bodyPr/>
        <a:lstStyle/>
        <a:p>
          <a:endParaRPr lang="ru-RU"/>
        </a:p>
      </dgm:t>
    </dgm:pt>
    <dgm:pt modelId="{97445D5C-C756-4439-9651-62A84635DD5B}" type="pres">
      <dgm:prSet presAssocID="{93489A9C-78E2-48DD-B767-0AB4A51E0984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97BE94D-DBB9-4A2B-ADA5-CD7AFD79F6A1}" type="pres">
      <dgm:prSet presAssocID="{3B7CFA90-04CF-4F74-9648-2B4F88764645}" presName="linNode" presStyleCnt="0"/>
      <dgm:spPr/>
    </dgm:pt>
    <dgm:pt modelId="{FF418013-0959-49BD-B879-6159D7B32D7F}" type="pres">
      <dgm:prSet presAssocID="{3B7CFA90-04CF-4F74-9648-2B4F88764645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FD00E0-6460-4461-BB5E-7EFBF72E43CA}" type="pres">
      <dgm:prSet presAssocID="{3B7CFA90-04CF-4F74-9648-2B4F88764645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EB7AA7-FC8A-41E5-9A49-801E7B6BDD85}" type="pres">
      <dgm:prSet presAssocID="{B06464FD-8557-4DD6-B860-42CB9687ED80}" presName="spacing" presStyleCnt="0"/>
      <dgm:spPr/>
    </dgm:pt>
    <dgm:pt modelId="{C8313044-195C-4CFF-970D-4734FACE1E64}" type="pres">
      <dgm:prSet presAssocID="{621FF9F5-B6B1-4D69-8F7E-2C2C041B1158}" presName="linNode" presStyleCnt="0"/>
      <dgm:spPr/>
    </dgm:pt>
    <dgm:pt modelId="{16F9C17A-5658-4EC3-AA5A-5C670B7EE88A}" type="pres">
      <dgm:prSet presAssocID="{621FF9F5-B6B1-4D69-8F7E-2C2C041B1158}" presName="parent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8357CD-F866-4E30-8950-60615AFA93CC}" type="pres">
      <dgm:prSet presAssocID="{621FF9F5-B6B1-4D69-8F7E-2C2C041B1158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F34547-BE9F-4CB9-9979-ABE130122B31}" type="pres">
      <dgm:prSet presAssocID="{D8C4D870-0D0F-4AF2-9C83-5A89F6B52F9C}" presName="spacing" presStyleCnt="0"/>
      <dgm:spPr/>
    </dgm:pt>
    <dgm:pt modelId="{4D155EDC-5F35-4127-9FB1-E27C438F4E93}" type="pres">
      <dgm:prSet presAssocID="{EDFAFE9F-3124-4290-A252-78FA301CEC32}" presName="linNode" presStyleCnt="0"/>
      <dgm:spPr/>
    </dgm:pt>
    <dgm:pt modelId="{8C5C5EEC-4846-49A3-B4D5-CFB046C2D439}" type="pres">
      <dgm:prSet presAssocID="{EDFAFE9F-3124-4290-A252-78FA301CEC32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0D266A-3A2C-44AF-94C2-7935DB2B9B79}" type="pres">
      <dgm:prSet presAssocID="{EDFAFE9F-3124-4290-A252-78FA301CEC32}" presName="childShp" presStyleLbl="bgAccFollowNode1" presStyleIdx="2" presStyleCnt="3" custLinFactNeighborY="37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849A7C1-8E46-4950-B7D4-A2D87A8E5796}" srcId="{93489A9C-78E2-48DD-B767-0AB4A51E0984}" destId="{EDFAFE9F-3124-4290-A252-78FA301CEC32}" srcOrd="2" destOrd="0" parTransId="{57F926A7-A5FC-4A99-AF26-80CB0E412BE3}" sibTransId="{BF8485A3-AD25-4B7B-A1C3-A75370BE4749}"/>
    <dgm:cxn modelId="{02AD337A-349B-4ACD-AFE1-C668A0EA3066}" type="presOf" srcId="{76DC9F2C-8BB4-475B-AB3E-08CF42F58809}" destId="{EAFD00E0-6460-4461-BB5E-7EFBF72E43CA}" srcOrd="0" destOrd="0" presId="urn:microsoft.com/office/officeart/2005/8/layout/vList6"/>
    <dgm:cxn modelId="{DF93249D-FFA4-4E48-B06D-0D402F3F5058}" type="presOf" srcId="{93489A9C-78E2-48DD-B767-0AB4A51E0984}" destId="{97445D5C-C756-4439-9651-62A84635DD5B}" srcOrd="0" destOrd="0" presId="urn:microsoft.com/office/officeart/2005/8/layout/vList6"/>
    <dgm:cxn modelId="{0847B19D-B12E-40A1-824B-8EE9A05B415B}" srcId="{93489A9C-78E2-48DD-B767-0AB4A51E0984}" destId="{621FF9F5-B6B1-4D69-8F7E-2C2C041B1158}" srcOrd="1" destOrd="0" parTransId="{30710950-0180-403F-AC62-0793ECF877BA}" sibTransId="{D8C4D870-0D0F-4AF2-9C83-5A89F6B52F9C}"/>
    <dgm:cxn modelId="{FDC6E883-41B7-4834-9B5C-F080253877AB}" srcId="{93489A9C-78E2-48DD-B767-0AB4A51E0984}" destId="{3B7CFA90-04CF-4F74-9648-2B4F88764645}" srcOrd="0" destOrd="0" parTransId="{D211CA8E-6BA1-4302-83E9-D1AB145852BB}" sibTransId="{B06464FD-8557-4DD6-B860-42CB9687ED80}"/>
    <dgm:cxn modelId="{00D568EA-C0F5-474D-A763-2A7A6977B17E}" type="presOf" srcId="{2A43B805-813B-42DC-82F2-C8BA0F84F076}" destId="{C70D266A-3A2C-44AF-94C2-7935DB2B9B79}" srcOrd="0" destOrd="0" presId="urn:microsoft.com/office/officeart/2005/8/layout/vList6"/>
    <dgm:cxn modelId="{E7BA0B80-732F-435E-B116-97FB27848DFA}" srcId="{EDFAFE9F-3124-4290-A252-78FA301CEC32}" destId="{D87CCFF1-0B1B-4CCC-995F-9D4102360B7A}" srcOrd="1" destOrd="0" parTransId="{7689BD21-5AAE-4C92-9C42-F74134DEED47}" sibTransId="{B4819887-B3E0-4504-A996-C7C8EA10FB22}"/>
    <dgm:cxn modelId="{52DE63CE-2B65-4CD8-AA8A-C7E6E2EAED45}" type="presOf" srcId="{7D15EB7F-D397-49DF-B75E-9E10DF67D5E9}" destId="{218357CD-F866-4E30-8950-60615AFA93CC}" srcOrd="0" destOrd="0" presId="urn:microsoft.com/office/officeart/2005/8/layout/vList6"/>
    <dgm:cxn modelId="{4B77EED3-2D2A-477E-A8AF-D4559543FA73}" srcId="{3B7CFA90-04CF-4F74-9648-2B4F88764645}" destId="{76DC9F2C-8BB4-475B-AB3E-08CF42F58809}" srcOrd="0" destOrd="0" parTransId="{A648C955-3B27-4DD6-B9AD-DD6D7E517E69}" sibTransId="{CB409A13-0E2E-441E-95F7-0A1B10640498}"/>
    <dgm:cxn modelId="{48DBF3AD-7087-44D0-8999-6BB34121A879}" type="presOf" srcId="{621FF9F5-B6B1-4D69-8F7E-2C2C041B1158}" destId="{16F9C17A-5658-4EC3-AA5A-5C670B7EE88A}" srcOrd="0" destOrd="0" presId="urn:microsoft.com/office/officeart/2005/8/layout/vList6"/>
    <dgm:cxn modelId="{C7D85DE6-B7F1-47D8-9943-E0D7660BBA95}" type="presOf" srcId="{D87CCFF1-0B1B-4CCC-995F-9D4102360B7A}" destId="{C70D266A-3A2C-44AF-94C2-7935DB2B9B79}" srcOrd="0" destOrd="1" presId="urn:microsoft.com/office/officeart/2005/8/layout/vList6"/>
    <dgm:cxn modelId="{29363811-2957-4603-95BE-B9827E3D2D33}" type="presOf" srcId="{3B7CFA90-04CF-4F74-9648-2B4F88764645}" destId="{FF418013-0959-49BD-B879-6159D7B32D7F}" srcOrd="0" destOrd="0" presId="urn:microsoft.com/office/officeart/2005/8/layout/vList6"/>
    <dgm:cxn modelId="{0368CC5B-A207-4BA3-AB71-485FAAF254E2}" srcId="{EDFAFE9F-3124-4290-A252-78FA301CEC32}" destId="{2A43B805-813B-42DC-82F2-C8BA0F84F076}" srcOrd="0" destOrd="0" parTransId="{534EAFBB-86BF-4290-BD85-BCA64ADB7B13}" sibTransId="{F70EC4C1-FC03-4EEC-A6F9-F19FB47A905A}"/>
    <dgm:cxn modelId="{787931F3-F44F-411F-9CE9-58E4A17315D2}" srcId="{621FF9F5-B6B1-4D69-8F7E-2C2C041B1158}" destId="{7D15EB7F-D397-49DF-B75E-9E10DF67D5E9}" srcOrd="0" destOrd="0" parTransId="{63987989-4792-4AFC-9FF8-323291A32E1A}" sibTransId="{64BFA16D-5913-4400-A4EE-0C6CCC358DF4}"/>
    <dgm:cxn modelId="{548363B9-A283-4137-A51C-A31A55312A19}" type="presOf" srcId="{EDFAFE9F-3124-4290-A252-78FA301CEC32}" destId="{8C5C5EEC-4846-49A3-B4D5-CFB046C2D439}" srcOrd="0" destOrd="0" presId="urn:microsoft.com/office/officeart/2005/8/layout/vList6"/>
    <dgm:cxn modelId="{88B3D24D-E410-4975-91E4-83DDB2256513}" type="presParOf" srcId="{97445D5C-C756-4439-9651-62A84635DD5B}" destId="{F97BE94D-DBB9-4A2B-ADA5-CD7AFD79F6A1}" srcOrd="0" destOrd="0" presId="urn:microsoft.com/office/officeart/2005/8/layout/vList6"/>
    <dgm:cxn modelId="{7B621402-6D05-419D-8F8D-6CADA0C024B8}" type="presParOf" srcId="{F97BE94D-DBB9-4A2B-ADA5-CD7AFD79F6A1}" destId="{FF418013-0959-49BD-B879-6159D7B32D7F}" srcOrd="0" destOrd="0" presId="urn:microsoft.com/office/officeart/2005/8/layout/vList6"/>
    <dgm:cxn modelId="{9A21E434-C266-44B0-973B-4DD34A733D9E}" type="presParOf" srcId="{F97BE94D-DBB9-4A2B-ADA5-CD7AFD79F6A1}" destId="{EAFD00E0-6460-4461-BB5E-7EFBF72E43CA}" srcOrd="1" destOrd="0" presId="urn:microsoft.com/office/officeart/2005/8/layout/vList6"/>
    <dgm:cxn modelId="{B785FA2A-8D70-45C7-AAB3-3803EAA53AC4}" type="presParOf" srcId="{97445D5C-C756-4439-9651-62A84635DD5B}" destId="{93EB7AA7-FC8A-41E5-9A49-801E7B6BDD85}" srcOrd="1" destOrd="0" presId="urn:microsoft.com/office/officeart/2005/8/layout/vList6"/>
    <dgm:cxn modelId="{4004A006-53D1-46C7-80E2-06E99B9057A6}" type="presParOf" srcId="{97445D5C-C756-4439-9651-62A84635DD5B}" destId="{C8313044-195C-4CFF-970D-4734FACE1E64}" srcOrd="2" destOrd="0" presId="urn:microsoft.com/office/officeart/2005/8/layout/vList6"/>
    <dgm:cxn modelId="{564587F6-D377-4666-9ECE-F3BD84B1809A}" type="presParOf" srcId="{C8313044-195C-4CFF-970D-4734FACE1E64}" destId="{16F9C17A-5658-4EC3-AA5A-5C670B7EE88A}" srcOrd="0" destOrd="0" presId="urn:microsoft.com/office/officeart/2005/8/layout/vList6"/>
    <dgm:cxn modelId="{86A1D2F0-6388-4ED7-8EDE-82309B62E263}" type="presParOf" srcId="{C8313044-195C-4CFF-970D-4734FACE1E64}" destId="{218357CD-F866-4E30-8950-60615AFA93CC}" srcOrd="1" destOrd="0" presId="urn:microsoft.com/office/officeart/2005/8/layout/vList6"/>
    <dgm:cxn modelId="{A6F7767A-D1E0-4C73-9AA8-D2E17A5945D4}" type="presParOf" srcId="{97445D5C-C756-4439-9651-62A84635DD5B}" destId="{E1F34547-BE9F-4CB9-9979-ABE130122B31}" srcOrd="3" destOrd="0" presId="urn:microsoft.com/office/officeart/2005/8/layout/vList6"/>
    <dgm:cxn modelId="{20828F69-2833-4436-A12D-A96B11F61187}" type="presParOf" srcId="{97445D5C-C756-4439-9651-62A84635DD5B}" destId="{4D155EDC-5F35-4127-9FB1-E27C438F4E93}" srcOrd="4" destOrd="0" presId="urn:microsoft.com/office/officeart/2005/8/layout/vList6"/>
    <dgm:cxn modelId="{CE72AD45-92D4-484E-A1CC-1E497CAC4C81}" type="presParOf" srcId="{4D155EDC-5F35-4127-9FB1-E27C438F4E93}" destId="{8C5C5EEC-4846-49A3-B4D5-CFB046C2D439}" srcOrd="0" destOrd="0" presId="urn:microsoft.com/office/officeart/2005/8/layout/vList6"/>
    <dgm:cxn modelId="{E1F5FBA8-B341-4883-992F-2AA50B6CC843}" type="presParOf" srcId="{4D155EDC-5F35-4127-9FB1-E27C438F4E93}" destId="{C70D266A-3A2C-44AF-94C2-7935DB2B9B79}" srcOrd="1" destOrd="0" presId="urn:microsoft.com/office/officeart/2005/8/layout/vList6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C4C8D02-680F-478B-8A54-0AC530B5B794}" type="doc">
      <dgm:prSet loTypeId="urn:microsoft.com/office/officeart/2005/8/layout/hierarchy4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F032363A-D5E7-46D2-BDCA-3E3304AD3B40}">
      <dgm:prSet phldrT="[Текст]"/>
      <dgm:spPr/>
      <dgm:t>
        <a:bodyPr/>
        <a:lstStyle/>
        <a:p>
          <a:r>
            <a:rPr lang="uk-UA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Теги</a:t>
          </a:r>
          <a:endParaRPr lang="ru-RU" b="1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gm:t>
    </dgm:pt>
    <dgm:pt modelId="{0CD7D69C-A07E-49DA-963F-307420392458}" type="parTrans" cxnId="{E84E0D82-8F21-4D48-8694-900F6A9EE638}">
      <dgm:prSet/>
      <dgm:spPr/>
      <dgm:t>
        <a:bodyPr/>
        <a:lstStyle/>
        <a:p>
          <a:endParaRPr lang="ru-RU"/>
        </a:p>
      </dgm:t>
    </dgm:pt>
    <dgm:pt modelId="{E0215EBD-B7C3-4F2A-91AA-1F1CC5CADE10}" type="sibTrans" cxnId="{E84E0D82-8F21-4D48-8694-900F6A9EE638}">
      <dgm:prSet/>
      <dgm:spPr/>
      <dgm:t>
        <a:bodyPr/>
        <a:lstStyle/>
        <a:p>
          <a:endParaRPr lang="ru-RU"/>
        </a:p>
      </dgm:t>
    </dgm:pt>
    <dgm:pt modelId="{6297BB7E-AAFD-476B-9165-BA642CF168E1}">
      <dgm:prSet phldrT="[Текст]"/>
      <dgm:spPr/>
      <dgm:t>
        <a:bodyPr/>
        <a:lstStyle/>
        <a:p>
          <a:r>
            <a:rPr lang="uk-UA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Парні</a:t>
          </a:r>
          <a:endParaRPr lang="ru-RU" b="1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gm:t>
    </dgm:pt>
    <dgm:pt modelId="{28515AEB-3BEA-4723-8DD7-B1ABDDE24EAC}" type="parTrans" cxnId="{3D90FE6C-1810-47FC-978E-01295ECB1C03}">
      <dgm:prSet/>
      <dgm:spPr/>
      <dgm:t>
        <a:bodyPr/>
        <a:lstStyle/>
        <a:p>
          <a:endParaRPr lang="ru-RU"/>
        </a:p>
      </dgm:t>
    </dgm:pt>
    <dgm:pt modelId="{954684C3-CB98-4030-90BE-99746636368A}" type="sibTrans" cxnId="{3D90FE6C-1810-47FC-978E-01295ECB1C03}">
      <dgm:prSet/>
      <dgm:spPr/>
      <dgm:t>
        <a:bodyPr/>
        <a:lstStyle/>
        <a:p>
          <a:endParaRPr lang="ru-RU"/>
        </a:p>
      </dgm:t>
    </dgm:pt>
    <dgm:pt modelId="{3A6EF007-B650-48B1-A53C-16B4E99D28AF}">
      <dgm:prSet phldrT="[Текст]"/>
      <dgm:spPr/>
      <dgm:t>
        <a:bodyPr/>
        <a:lstStyle/>
        <a:p>
          <a:r>
            <a:rPr lang="uk-UA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Непарні</a:t>
          </a:r>
          <a:endParaRPr lang="ru-RU" b="1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gm:t>
    </dgm:pt>
    <dgm:pt modelId="{7362151E-FBF9-41A5-B6F8-5A3038D9A002}" type="parTrans" cxnId="{74601241-F0AE-4DDE-A504-FAE8AB51A474}">
      <dgm:prSet/>
      <dgm:spPr/>
      <dgm:t>
        <a:bodyPr/>
        <a:lstStyle/>
        <a:p>
          <a:endParaRPr lang="ru-RU"/>
        </a:p>
      </dgm:t>
    </dgm:pt>
    <dgm:pt modelId="{5AFC7E9E-55A1-45CD-999A-789F78B43C51}" type="sibTrans" cxnId="{74601241-F0AE-4DDE-A504-FAE8AB51A474}">
      <dgm:prSet/>
      <dgm:spPr/>
      <dgm:t>
        <a:bodyPr/>
        <a:lstStyle/>
        <a:p>
          <a:endParaRPr lang="ru-RU"/>
        </a:p>
      </dgm:t>
    </dgm:pt>
    <dgm:pt modelId="{BA7DA9B9-A420-4B58-A871-79DCF53541E7}">
      <dgm:prSet phldrT="[Текст]"/>
      <dgm:spPr/>
      <dgm:t>
        <a:bodyPr/>
        <a:lstStyle/>
        <a:p>
          <a:pPr algn="l"/>
          <a:r>
            <a:rPr lang="en-US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p&gt;&lt;/p&gt;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 абзац</a:t>
          </a:r>
        </a:p>
        <a:p>
          <a:pPr algn="l"/>
          <a:r>
            <a:rPr lang="en-US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h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1</a:t>
          </a:r>
          <a:r>
            <a:rPr lang="en-US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&lt;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/</a:t>
          </a:r>
          <a:r>
            <a:rPr lang="en-US" dirty="0" smtClean="0">
              <a:solidFill>
                <a:schemeClr val="tx1">
                  <a:lumMod val="75000"/>
                  <a:lumOff val="25000"/>
                </a:schemeClr>
              </a:solidFill>
            </a:rPr>
            <a:t>h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1</a:t>
          </a:r>
          <a:r>
            <a:rPr lang="en-US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  заголовок</a:t>
          </a:r>
        </a:p>
        <a:p>
          <a:pPr algn="l"/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b&gt;&lt;/b&gt; </a:t>
          </a:r>
          <a:r>
            <a:rPr lang="uk-UA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жирний шрифт  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   </a:t>
          </a:r>
          <a:r>
            <a:rPr lang="uk-UA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  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   </a:t>
          </a:r>
          <a:endParaRPr lang="ru-RU" b="1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gm:t>
    </dgm:pt>
    <dgm:pt modelId="{7E4EC953-17E3-4A15-BC07-D6C11E33C9FF}" type="parTrans" cxnId="{CE3AE921-2E24-42DC-9729-35F4655FC660}">
      <dgm:prSet/>
      <dgm:spPr/>
      <dgm:t>
        <a:bodyPr/>
        <a:lstStyle/>
        <a:p>
          <a:endParaRPr lang="ru-RU"/>
        </a:p>
      </dgm:t>
    </dgm:pt>
    <dgm:pt modelId="{20200F97-7460-465D-8DA8-D704B71BA539}" type="sibTrans" cxnId="{CE3AE921-2E24-42DC-9729-35F4655FC660}">
      <dgm:prSet/>
      <dgm:spPr/>
      <dgm:t>
        <a:bodyPr/>
        <a:lstStyle/>
        <a:p>
          <a:endParaRPr lang="ru-RU"/>
        </a:p>
      </dgm:t>
    </dgm:pt>
    <dgm:pt modelId="{900CD2CF-F1F8-4398-884A-7FFEB3B8B4D0}">
      <dgm:prSet phldrT="[Текст]"/>
      <dgm:spPr/>
      <dgm:t>
        <a:bodyPr/>
        <a:lstStyle/>
        <a:p>
          <a:pPr algn="l"/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</a:t>
          </a:r>
          <a:r>
            <a:rPr lang="en-US" b="0" i="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br</a:t>
          </a:r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 новий рядок </a:t>
          </a:r>
        </a:p>
        <a:p>
          <a:pPr algn="l"/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hr&gt;</a:t>
          </a:r>
          <a:r>
            <a:rPr lang="uk-UA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  </a:t>
          </a:r>
          <a:r>
            <a:rPr lang="uk-UA" dirty="0" smtClean="0">
              <a:solidFill>
                <a:schemeClr val="tx1">
                  <a:lumMod val="75000"/>
                  <a:lumOff val="25000"/>
                </a:schemeClr>
              </a:solidFill>
            </a:rPr>
            <a:t>розділова лінія </a:t>
          </a:r>
        </a:p>
        <a:p>
          <a:pPr algn="l"/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</a:t>
          </a:r>
          <a:r>
            <a:rPr lang="en-US" b="0" i="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img</a:t>
          </a:r>
          <a:r>
            <a:rPr lang="en-US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b="0" i="0" dirty="0" smtClean="0">
              <a:solidFill>
                <a:schemeClr val="tx1">
                  <a:lumMod val="75000"/>
                  <a:lumOff val="25000"/>
                </a:schemeClr>
              </a:solidFill>
            </a:rPr>
            <a:t> вставка зображення</a:t>
          </a:r>
          <a:endParaRPr lang="ru-RU" dirty="0" smtClean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C204FE1-E4E6-4855-A78D-9C3449D768D5}" type="parTrans" cxnId="{17E6FA49-9C2D-416A-BBD8-C6D02F05F523}">
      <dgm:prSet/>
      <dgm:spPr/>
    </dgm:pt>
    <dgm:pt modelId="{2B3DB845-2F81-4827-9EB4-84A4E31B39FB}" type="sibTrans" cxnId="{17E6FA49-9C2D-416A-BBD8-C6D02F05F523}">
      <dgm:prSet/>
      <dgm:spPr/>
    </dgm:pt>
    <dgm:pt modelId="{9BAD4903-FD58-49B7-A4ED-A3CACF8C7ACF}" type="pres">
      <dgm:prSet presAssocID="{FC4C8D02-680F-478B-8A54-0AC530B5B79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D06DF08-AD68-4DD5-ACBB-01B99FC6F62A}" type="pres">
      <dgm:prSet presAssocID="{F032363A-D5E7-46D2-BDCA-3E3304AD3B40}" presName="vertOne" presStyleCnt="0"/>
      <dgm:spPr/>
    </dgm:pt>
    <dgm:pt modelId="{215022DA-D192-4829-B690-C268D72416D3}" type="pres">
      <dgm:prSet presAssocID="{F032363A-D5E7-46D2-BDCA-3E3304AD3B40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4032D57-AD50-426B-B0DE-70A77FAE76BD}" type="pres">
      <dgm:prSet presAssocID="{F032363A-D5E7-46D2-BDCA-3E3304AD3B40}" presName="parTransOne" presStyleCnt="0"/>
      <dgm:spPr/>
    </dgm:pt>
    <dgm:pt modelId="{1D9C3006-EB75-473F-A0CE-A5210173203F}" type="pres">
      <dgm:prSet presAssocID="{F032363A-D5E7-46D2-BDCA-3E3304AD3B40}" presName="horzOne" presStyleCnt="0"/>
      <dgm:spPr/>
    </dgm:pt>
    <dgm:pt modelId="{AFADBD12-E7EA-4628-BFEA-0F266A193DCA}" type="pres">
      <dgm:prSet presAssocID="{6297BB7E-AAFD-476B-9165-BA642CF168E1}" presName="vertTwo" presStyleCnt="0"/>
      <dgm:spPr/>
    </dgm:pt>
    <dgm:pt modelId="{D983F9E4-BED4-4B04-9E6A-DDAF4D53CF87}" type="pres">
      <dgm:prSet presAssocID="{6297BB7E-AAFD-476B-9165-BA642CF168E1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55E9173-3A08-4339-819E-684EF813619D}" type="pres">
      <dgm:prSet presAssocID="{6297BB7E-AAFD-476B-9165-BA642CF168E1}" presName="parTransTwo" presStyleCnt="0"/>
      <dgm:spPr/>
    </dgm:pt>
    <dgm:pt modelId="{52C7EC7D-E2BE-4344-B89C-CE96A96B8B23}" type="pres">
      <dgm:prSet presAssocID="{6297BB7E-AAFD-476B-9165-BA642CF168E1}" presName="horzTwo" presStyleCnt="0"/>
      <dgm:spPr/>
    </dgm:pt>
    <dgm:pt modelId="{00260BA1-2B8E-435A-9BE0-6E9047DFFA93}" type="pres">
      <dgm:prSet presAssocID="{BA7DA9B9-A420-4B58-A871-79DCF53541E7}" presName="vertThree" presStyleCnt="0"/>
      <dgm:spPr/>
    </dgm:pt>
    <dgm:pt modelId="{87B15776-871C-4967-B7B6-AB38CCA44B3B}" type="pres">
      <dgm:prSet presAssocID="{BA7DA9B9-A420-4B58-A871-79DCF53541E7}" presName="txThree" presStyleLbl="node3" presStyleIdx="0" presStyleCnt="2" custScaleX="11819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42EBF2F-67DB-4B27-B7A8-EE6CB3DF29F6}" type="pres">
      <dgm:prSet presAssocID="{BA7DA9B9-A420-4B58-A871-79DCF53541E7}" presName="horzThree" presStyleCnt="0"/>
      <dgm:spPr/>
    </dgm:pt>
    <dgm:pt modelId="{FE71F8ED-ACFA-479B-86D4-315E41804BD6}" type="pres">
      <dgm:prSet presAssocID="{954684C3-CB98-4030-90BE-99746636368A}" presName="sibSpaceTwo" presStyleCnt="0"/>
      <dgm:spPr/>
    </dgm:pt>
    <dgm:pt modelId="{33D93DF4-D5CB-46C6-B8D0-46C02B945A4B}" type="pres">
      <dgm:prSet presAssocID="{3A6EF007-B650-48B1-A53C-16B4E99D28AF}" presName="vertTwo" presStyleCnt="0"/>
      <dgm:spPr/>
    </dgm:pt>
    <dgm:pt modelId="{2C0476A4-865D-4965-BECB-E61FE6BE2E94}" type="pres">
      <dgm:prSet presAssocID="{3A6EF007-B650-48B1-A53C-16B4E99D28AF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5E84F6E-5753-4342-B51B-EB359CC5F0AD}" type="pres">
      <dgm:prSet presAssocID="{3A6EF007-B650-48B1-A53C-16B4E99D28AF}" presName="parTransTwo" presStyleCnt="0"/>
      <dgm:spPr/>
    </dgm:pt>
    <dgm:pt modelId="{D5E82267-DE49-4656-B437-DAFB1FD021B1}" type="pres">
      <dgm:prSet presAssocID="{3A6EF007-B650-48B1-A53C-16B4E99D28AF}" presName="horzTwo" presStyleCnt="0"/>
      <dgm:spPr/>
    </dgm:pt>
    <dgm:pt modelId="{55B91B99-8F70-4F8F-90B4-C41A8E7D1760}" type="pres">
      <dgm:prSet presAssocID="{900CD2CF-F1F8-4398-884A-7FFEB3B8B4D0}" presName="vertThree" presStyleCnt="0"/>
      <dgm:spPr/>
    </dgm:pt>
    <dgm:pt modelId="{5DEC5BEF-306A-4D1A-AA5B-DB3312DCC5AA}" type="pres">
      <dgm:prSet presAssocID="{900CD2CF-F1F8-4398-884A-7FFEB3B8B4D0}" presName="txThree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630A66A-A6E6-4412-BC36-3873F015D994}" type="pres">
      <dgm:prSet presAssocID="{900CD2CF-F1F8-4398-884A-7FFEB3B8B4D0}" presName="horzThree" presStyleCnt="0"/>
      <dgm:spPr/>
    </dgm:pt>
  </dgm:ptLst>
  <dgm:cxnLst>
    <dgm:cxn modelId="{DED93DAF-03C3-47F7-9EFA-9B3BECFC62AF}" type="presOf" srcId="{BA7DA9B9-A420-4B58-A871-79DCF53541E7}" destId="{87B15776-871C-4967-B7B6-AB38CCA44B3B}" srcOrd="0" destOrd="0" presId="urn:microsoft.com/office/officeart/2005/8/layout/hierarchy4"/>
    <dgm:cxn modelId="{E84E0D82-8F21-4D48-8694-900F6A9EE638}" srcId="{FC4C8D02-680F-478B-8A54-0AC530B5B794}" destId="{F032363A-D5E7-46D2-BDCA-3E3304AD3B40}" srcOrd="0" destOrd="0" parTransId="{0CD7D69C-A07E-49DA-963F-307420392458}" sibTransId="{E0215EBD-B7C3-4F2A-91AA-1F1CC5CADE10}"/>
    <dgm:cxn modelId="{74601241-F0AE-4DDE-A504-FAE8AB51A474}" srcId="{F032363A-D5E7-46D2-BDCA-3E3304AD3B40}" destId="{3A6EF007-B650-48B1-A53C-16B4E99D28AF}" srcOrd="1" destOrd="0" parTransId="{7362151E-FBF9-41A5-B6F8-5A3038D9A002}" sibTransId="{5AFC7E9E-55A1-45CD-999A-789F78B43C51}"/>
    <dgm:cxn modelId="{128AA4C6-3226-473D-8973-A6BBBD7D7964}" type="presOf" srcId="{6297BB7E-AAFD-476B-9165-BA642CF168E1}" destId="{D983F9E4-BED4-4B04-9E6A-DDAF4D53CF87}" srcOrd="0" destOrd="0" presId="urn:microsoft.com/office/officeart/2005/8/layout/hierarchy4"/>
    <dgm:cxn modelId="{CE3AE921-2E24-42DC-9729-35F4655FC660}" srcId="{6297BB7E-AAFD-476B-9165-BA642CF168E1}" destId="{BA7DA9B9-A420-4B58-A871-79DCF53541E7}" srcOrd="0" destOrd="0" parTransId="{7E4EC953-17E3-4A15-BC07-D6C11E33C9FF}" sibTransId="{20200F97-7460-465D-8DA8-D704B71BA539}"/>
    <dgm:cxn modelId="{3D90FE6C-1810-47FC-978E-01295ECB1C03}" srcId="{F032363A-D5E7-46D2-BDCA-3E3304AD3B40}" destId="{6297BB7E-AAFD-476B-9165-BA642CF168E1}" srcOrd="0" destOrd="0" parTransId="{28515AEB-3BEA-4723-8DD7-B1ABDDE24EAC}" sibTransId="{954684C3-CB98-4030-90BE-99746636368A}"/>
    <dgm:cxn modelId="{A5F991BB-712D-451C-8F76-0CE18EF35897}" type="presOf" srcId="{FC4C8D02-680F-478B-8A54-0AC530B5B794}" destId="{9BAD4903-FD58-49B7-A4ED-A3CACF8C7ACF}" srcOrd="0" destOrd="0" presId="urn:microsoft.com/office/officeart/2005/8/layout/hierarchy4"/>
    <dgm:cxn modelId="{17E6FA49-9C2D-416A-BBD8-C6D02F05F523}" srcId="{3A6EF007-B650-48B1-A53C-16B4E99D28AF}" destId="{900CD2CF-F1F8-4398-884A-7FFEB3B8B4D0}" srcOrd="0" destOrd="0" parTransId="{BC204FE1-E4E6-4855-A78D-9C3449D768D5}" sibTransId="{2B3DB845-2F81-4827-9EB4-84A4E31B39FB}"/>
    <dgm:cxn modelId="{9EDEA4BE-A481-4381-A1E1-D73A1FB6C6AF}" type="presOf" srcId="{3A6EF007-B650-48B1-A53C-16B4E99D28AF}" destId="{2C0476A4-865D-4965-BECB-E61FE6BE2E94}" srcOrd="0" destOrd="0" presId="urn:microsoft.com/office/officeart/2005/8/layout/hierarchy4"/>
    <dgm:cxn modelId="{2EE1F539-796D-4A0C-BB3A-E7A5E4C100CD}" type="presOf" srcId="{F032363A-D5E7-46D2-BDCA-3E3304AD3B40}" destId="{215022DA-D192-4829-B690-C268D72416D3}" srcOrd="0" destOrd="0" presId="urn:microsoft.com/office/officeart/2005/8/layout/hierarchy4"/>
    <dgm:cxn modelId="{632393A6-8472-48C4-9A49-53A3AEE93254}" type="presOf" srcId="{900CD2CF-F1F8-4398-884A-7FFEB3B8B4D0}" destId="{5DEC5BEF-306A-4D1A-AA5B-DB3312DCC5AA}" srcOrd="0" destOrd="0" presId="urn:microsoft.com/office/officeart/2005/8/layout/hierarchy4"/>
    <dgm:cxn modelId="{88607731-030A-4932-9454-20F252D8CB34}" type="presParOf" srcId="{9BAD4903-FD58-49B7-A4ED-A3CACF8C7ACF}" destId="{7D06DF08-AD68-4DD5-ACBB-01B99FC6F62A}" srcOrd="0" destOrd="0" presId="urn:microsoft.com/office/officeart/2005/8/layout/hierarchy4"/>
    <dgm:cxn modelId="{40E3AFE6-6659-4E84-81BA-7BE73D1307AD}" type="presParOf" srcId="{7D06DF08-AD68-4DD5-ACBB-01B99FC6F62A}" destId="{215022DA-D192-4829-B690-C268D72416D3}" srcOrd="0" destOrd="0" presId="urn:microsoft.com/office/officeart/2005/8/layout/hierarchy4"/>
    <dgm:cxn modelId="{8DFD24D4-1408-4644-8A41-5941514C7429}" type="presParOf" srcId="{7D06DF08-AD68-4DD5-ACBB-01B99FC6F62A}" destId="{24032D57-AD50-426B-B0DE-70A77FAE76BD}" srcOrd="1" destOrd="0" presId="urn:microsoft.com/office/officeart/2005/8/layout/hierarchy4"/>
    <dgm:cxn modelId="{57FE6F1F-17CA-4477-8B47-7C1A16DAE4EF}" type="presParOf" srcId="{7D06DF08-AD68-4DD5-ACBB-01B99FC6F62A}" destId="{1D9C3006-EB75-473F-A0CE-A5210173203F}" srcOrd="2" destOrd="0" presId="urn:microsoft.com/office/officeart/2005/8/layout/hierarchy4"/>
    <dgm:cxn modelId="{CDC8F98C-73F7-4BD5-AD89-878355442156}" type="presParOf" srcId="{1D9C3006-EB75-473F-A0CE-A5210173203F}" destId="{AFADBD12-E7EA-4628-BFEA-0F266A193DCA}" srcOrd="0" destOrd="0" presId="urn:microsoft.com/office/officeart/2005/8/layout/hierarchy4"/>
    <dgm:cxn modelId="{B8DA7247-2CC2-4369-A51C-2763051215DE}" type="presParOf" srcId="{AFADBD12-E7EA-4628-BFEA-0F266A193DCA}" destId="{D983F9E4-BED4-4B04-9E6A-DDAF4D53CF87}" srcOrd="0" destOrd="0" presId="urn:microsoft.com/office/officeart/2005/8/layout/hierarchy4"/>
    <dgm:cxn modelId="{71CAA26C-4647-4445-B51E-E94C206F9577}" type="presParOf" srcId="{AFADBD12-E7EA-4628-BFEA-0F266A193DCA}" destId="{455E9173-3A08-4339-819E-684EF813619D}" srcOrd="1" destOrd="0" presId="urn:microsoft.com/office/officeart/2005/8/layout/hierarchy4"/>
    <dgm:cxn modelId="{D6229358-2DEB-49D9-98BD-5E5808C04CB8}" type="presParOf" srcId="{AFADBD12-E7EA-4628-BFEA-0F266A193DCA}" destId="{52C7EC7D-E2BE-4344-B89C-CE96A96B8B23}" srcOrd="2" destOrd="0" presId="urn:microsoft.com/office/officeart/2005/8/layout/hierarchy4"/>
    <dgm:cxn modelId="{983E23E4-498A-4EE6-99B7-3A70D6302EBA}" type="presParOf" srcId="{52C7EC7D-E2BE-4344-B89C-CE96A96B8B23}" destId="{00260BA1-2B8E-435A-9BE0-6E9047DFFA93}" srcOrd="0" destOrd="0" presId="urn:microsoft.com/office/officeart/2005/8/layout/hierarchy4"/>
    <dgm:cxn modelId="{10503CCF-D23F-4180-9E00-91646B3AEA90}" type="presParOf" srcId="{00260BA1-2B8E-435A-9BE0-6E9047DFFA93}" destId="{87B15776-871C-4967-B7B6-AB38CCA44B3B}" srcOrd="0" destOrd="0" presId="urn:microsoft.com/office/officeart/2005/8/layout/hierarchy4"/>
    <dgm:cxn modelId="{90FD3E31-90D5-4785-AA83-88A479BE2383}" type="presParOf" srcId="{00260BA1-2B8E-435A-9BE0-6E9047DFFA93}" destId="{642EBF2F-67DB-4B27-B7A8-EE6CB3DF29F6}" srcOrd="1" destOrd="0" presId="urn:microsoft.com/office/officeart/2005/8/layout/hierarchy4"/>
    <dgm:cxn modelId="{E5F76730-B8C7-4ABD-ADB1-3F2F827CD133}" type="presParOf" srcId="{1D9C3006-EB75-473F-A0CE-A5210173203F}" destId="{FE71F8ED-ACFA-479B-86D4-315E41804BD6}" srcOrd="1" destOrd="0" presId="urn:microsoft.com/office/officeart/2005/8/layout/hierarchy4"/>
    <dgm:cxn modelId="{AD44E6DC-CD37-4E23-8ACA-ECFF96E5697C}" type="presParOf" srcId="{1D9C3006-EB75-473F-A0CE-A5210173203F}" destId="{33D93DF4-D5CB-46C6-B8D0-46C02B945A4B}" srcOrd="2" destOrd="0" presId="urn:microsoft.com/office/officeart/2005/8/layout/hierarchy4"/>
    <dgm:cxn modelId="{625E0B23-69D3-4AF5-8880-F8A06A71624C}" type="presParOf" srcId="{33D93DF4-D5CB-46C6-B8D0-46C02B945A4B}" destId="{2C0476A4-865D-4965-BECB-E61FE6BE2E94}" srcOrd="0" destOrd="0" presId="urn:microsoft.com/office/officeart/2005/8/layout/hierarchy4"/>
    <dgm:cxn modelId="{447CD7CE-2E87-468B-8956-E9C96BFBD7DA}" type="presParOf" srcId="{33D93DF4-D5CB-46C6-B8D0-46C02B945A4B}" destId="{C5E84F6E-5753-4342-B51B-EB359CC5F0AD}" srcOrd="1" destOrd="0" presId="urn:microsoft.com/office/officeart/2005/8/layout/hierarchy4"/>
    <dgm:cxn modelId="{09A638B4-953F-4B1C-A517-A07F93C1C010}" type="presParOf" srcId="{33D93DF4-D5CB-46C6-B8D0-46C02B945A4B}" destId="{D5E82267-DE49-4656-B437-DAFB1FD021B1}" srcOrd="2" destOrd="0" presId="urn:microsoft.com/office/officeart/2005/8/layout/hierarchy4"/>
    <dgm:cxn modelId="{AB3733B5-4199-49F2-9DD4-1DA9E08C4540}" type="presParOf" srcId="{D5E82267-DE49-4656-B437-DAFB1FD021B1}" destId="{55B91B99-8F70-4F8F-90B4-C41A8E7D1760}" srcOrd="0" destOrd="0" presId="urn:microsoft.com/office/officeart/2005/8/layout/hierarchy4"/>
    <dgm:cxn modelId="{8B24B142-8EFC-413C-99BC-B3AF2D4C4CD1}" type="presParOf" srcId="{55B91B99-8F70-4F8F-90B4-C41A8E7D1760}" destId="{5DEC5BEF-306A-4D1A-AA5B-DB3312DCC5AA}" srcOrd="0" destOrd="0" presId="urn:microsoft.com/office/officeart/2005/8/layout/hierarchy4"/>
    <dgm:cxn modelId="{CA8A6DE2-43EA-457F-8FFD-FB1E001AF743}" type="presParOf" srcId="{55B91B99-8F70-4F8F-90B4-C41A8E7D1760}" destId="{A630A66A-A6E6-4412-BC36-3873F015D994}" srcOrd="1" destOrd="0" presId="urn:microsoft.com/office/officeart/2005/8/layout/hierarchy4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3A7A4F7-6012-460E-A6C1-02E0B010639B}" type="doc">
      <dgm:prSet loTypeId="urn:microsoft.com/office/officeart/2005/8/layout/chevron2" loCatId="list" qsTypeId="urn:microsoft.com/office/officeart/2005/8/quickstyle/3d2#3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45B5680F-2981-4267-AE01-035A09FBCE0F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41592D0F-84F3-4F8E-B6E4-FA017298CDE2}" type="parTrans" cxnId="{30C47712-D3BB-4350-B41F-FC32C07C7C9E}">
      <dgm:prSet/>
      <dgm:spPr/>
      <dgm:t>
        <a:bodyPr/>
        <a:lstStyle/>
        <a:p>
          <a:endParaRPr lang="ru-RU"/>
        </a:p>
      </dgm:t>
    </dgm:pt>
    <dgm:pt modelId="{6E2ACDF5-5536-4BC2-831A-5E6918DB0E0C}" type="sibTrans" cxnId="{30C47712-D3BB-4350-B41F-FC32C07C7C9E}">
      <dgm:prSet/>
      <dgm:spPr/>
      <dgm:t>
        <a:bodyPr/>
        <a:lstStyle/>
        <a:p>
          <a:endParaRPr lang="ru-RU"/>
        </a:p>
      </dgm:t>
    </dgm:pt>
    <dgm:pt modelId="{E702F4AB-DFED-4A81-8817-D83D0DBF1FBC}">
      <dgm:prSet phldrT="[Текст]"/>
      <dgm:spPr/>
      <dgm:t>
        <a:bodyPr/>
        <a:lstStyle/>
        <a:p>
          <a:r>
            <a:rPr lang="uk-UA" dirty="0" smtClean="0"/>
            <a:t>Ергономічний сайт повинен відповідати таким вимогам…</a:t>
          </a:r>
          <a:endParaRPr lang="ru-RU" dirty="0"/>
        </a:p>
      </dgm:t>
    </dgm:pt>
    <dgm:pt modelId="{EBDDCCC9-D466-468C-AA74-2B5D30D1F9AC}" type="parTrans" cxnId="{EEBC98BB-5FF5-4707-8A94-9D9F075AECC9}">
      <dgm:prSet/>
      <dgm:spPr/>
      <dgm:t>
        <a:bodyPr/>
        <a:lstStyle/>
        <a:p>
          <a:endParaRPr lang="ru-RU"/>
        </a:p>
      </dgm:t>
    </dgm:pt>
    <dgm:pt modelId="{C43BAF79-11FB-4BC6-89E4-DAEEBBD4C9E0}" type="sibTrans" cxnId="{EEBC98BB-5FF5-4707-8A94-9D9F075AECC9}">
      <dgm:prSet/>
      <dgm:spPr/>
      <dgm:t>
        <a:bodyPr/>
        <a:lstStyle/>
        <a:p>
          <a:endParaRPr lang="ru-RU"/>
        </a:p>
      </dgm:t>
    </dgm:pt>
    <dgm:pt modelId="{B62F81EF-E1FB-43B5-8443-BCB9D72E8203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E6C58B39-3E2C-4C86-89A9-D7BAA5EE62DE}" type="parTrans" cxnId="{4341FA34-EC6C-4115-96C6-DFAA1BDB6207}">
      <dgm:prSet/>
      <dgm:spPr/>
      <dgm:t>
        <a:bodyPr/>
        <a:lstStyle/>
        <a:p>
          <a:endParaRPr lang="ru-RU"/>
        </a:p>
      </dgm:t>
    </dgm:pt>
    <dgm:pt modelId="{5754CE77-5FE8-4596-BEC7-59E2936FB961}" type="sibTrans" cxnId="{4341FA34-EC6C-4115-96C6-DFAA1BDB6207}">
      <dgm:prSet/>
      <dgm:spPr/>
      <dgm:t>
        <a:bodyPr/>
        <a:lstStyle/>
        <a:p>
          <a:endParaRPr lang="ru-RU"/>
        </a:p>
      </dgm:t>
    </dgm:pt>
    <dgm:pt modelId="{ED99367C-72AC-4B8F-A1E8-8BE2AC737E1B}">
      <dgm:prSet phldrT="[Текст]"/>
      <dgm:spPr/>
      <dgm:t>
        <a:bodyPr/>
        <a:lstStyle/>
        <a:p>
          <a:r>
            <a:rPr lang="uk-UA" dirty="0" smtClean="0"/>
            <a:t>Що таке </a:t>
          </a:r>
          <a:r>
            <a:rPr lang="uk-UA" dirty="0" err="1" smtClean="0"/>
            <a:t>юзабіліті</a:t>
          </a:r>
          <a:r>
            <a:rPr lang="uk-UA" dirty="0" smtClean="0"/>
            <a:t> сайту?</a:t>
          </a:r>
          <a:endParaRPr lang="ru-RU" dirty="0"/>
        </a:p>
      </dgm:t>
    </dgm:pt>
    <dgm:pt modelId="{327A5845-2217-425A-AA6B-7EFBC79E545A}" type="parTrans" cxnId="{2D58E8AE-3124-493A-89A1-D29DA95F7550}">
      <dgm:prSet/>
      <dgm:spPr/>
      <dgm:t>
        <a:bodyPr/>
        <a:lstStyle/>
        <a:p>
          <a:endParaRPr lang="ru-RU"/>
        </a:p>
      </dgm:t>
    </dgm:pt>
    <dgm:pt modelId="{2C63237F-7103-4C5E-831A-86E27584643E}" type="sibTrans" cxnId="{2D58E8AE-3124-493A-89A1-D29DA95F7550}">
      <dgm:prSet/>
      <dgm:spPr/>
      <dgm:t>
        <a:bodyPr/>
        <a:lstStyle/>
        <a:p>
          <a:endParaRPr lang="ru-RU"/>
        </a:p>
      </dgm:t>
    </dgm:pt>
    <dgm:pt modelId="{561300D6-8DB5-45A9-87E5-7345AEF746EB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B0A0FEFA-FC30-4676-B296-720031654C40}" type="parTrans" cxnId="{BF3247FB-1655-4BC5-AA38-F5B13CD629CD}">
      <dgm:prSet/>
      <dgm:spPr/>
      <dgm:t>
        <a:bodyPr/>
        <a:lstStyle/>
        <a:p>
          <a:endParaRPr lang="ru-RU"/>
        </a:p>
      </dgm:t>
    </dgm:pt>
    <dgm:pt modelId="{5450C785-EFDB-416E-8CE2-5609C04B509F}" type="sibTrans" cxnId="{BF3247FB-1655-4BC5-AA38-F5B13CD629CD}">
      <dgm:prSet/>
      <dgm:spPr/>
      <dgm:t>
        <a:bodyPr/>
        <a:lstStyle/>
        <a:p>
          <a:endParaRPr lang="ru-RU"/>
        </a:p>
      </dgm:t>
    </dgm:pt>
    <dgm:pt modelId="{20C0A260-6598-4D92-899D-95F4B537BB4F}">
      <dgm:prSet phldrT="[Текст]"/>
      <dgm:spPr/>
      <dgm:t>
        <a:bodyPr/>
        <a:lstStyle/>
        <a:p>
          <a:r>
            <a:rPr lang="uk-UA" dirty="0" smtClean="0"/>
            <a:t>Назвіть принципи </a:t>
          </a:r>
          <a:r>
            <a:rPr lang="uk-UA" dirty="0" err="1" smtClean="0"/>
            <a:t>юзабіліті</a:t>
          </a:r>
          <a:r>
            <a:rPr lang="uk-UA" dirty="0" smtClean="0"/>
            <a:t>.</a:t>
          </a:r>
          <a:endParaRPr lang="ru-RU" dirty="0"/>
        </a:p>
      </dgm:t>
    </dgm:pt>
    <dgm:pt modelId="{A40C9A61-B2F6-4FC7-985D-A1F6D3BE9F71}" type="parTrans" cxnId="{003C5C23-55FB-4E75-96FF-A1A56D412573}">
      <dgm:prSet/>
      <dgm:spPr/>
      <dgm:t>
        <a:bodyPr/>
        <a:lstStyle/>
        <a:p>
          <a:endParaRPr lang="ru-RU"/>
        </a:p>
      </dgm:t>
    </dgm:pt>
    <dgm:pt modelId="{E429854E-365B-42D1-97F5-48AD5C620731}" type="sibTrans" cxnId="{003C5C23-55FB-4E75-96FF-A1A56D412573}">
      <dgm:prSet/>
      <dgm:spPr/>
      <dgm:t>
        <a:bodyPr/>
        <a:lstStyle/>
        <a:p>
          <a:endParaRPr lang="ru-RU"/>
        </a:p>
      </dgm:t>
    </dgm:pt>
    <dgm:pt modelId="{3A0EDCCF-BF9F-495A-99D7-4BDD19F92A3D}">
      <dgm:prSet phldrT="[Текст]"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18F9B9C0-9C8D-47C4-A2B7-994019CBE224}" type="parTrans" cxnId="{978FDB70-6A64-4C28-B788-279DC531C4BD}">
      <dgm:prSet/>
      <dgm:spPr/>
      <dgm:t>
        <a:bodyPr/>
        <a:lstStyle/>
        <a:p>
          <a:endParaRPr lang="ru-RU"/>
        </a:p>
      </dgm:t>
    </dgm:pt>
    <dgm:pt modelId="{DED1E8C6-8D7E-4A5E-BC06-69C50C23E221}" type="sibTrans" cxnId="{978FDB70-6A64-4C28-B788-279DC531C4BD}">
      <dgm:prSet/>
      <dgm:spPr/>
      <dgm:t>
        <a:bodyPr/>
        <a:lstStyle/>
        <a:p>
          <a:endParaRPr lang="ru-RU"/>
        </a:p>
      </dgm:t>
    </dgm:pt>
    <dgm:pt modelId="{C8477F6B-805E-47C3-9733-74AE7F601379}">
      <dgm:prSet/>
      <dgm:spPr/>
      <dgm:t>
        <a:bodyPr/>
        <a:lstStyle/>
        <a:p>
          <a:r>
            <a:rPr lang="ru-RU" dirty="0" err="1" smtClean="0"/>
            <a:t>Назвіть</a:t>
          </a:r>
          <a:r>
            <a:rPr lang="ru-RU" dirty="0" smtClean="0"/>
            <a:t> </a:t>
          </a:r>
          <a:r>
            <a:rPr lang="ru-RU" dirty="0" err="1" smtClean="0"/>
            <a:t>основні</a:t>
          </a:r>
          <a:r>
            <a:rPr lang="ru-RU" dirty="0" smtClean="0"/>
            <a:t> </a:t>
          </a:r>
          <a:r>
            <a:rPr lang="ru-RU" dirty="0" err="1" smtClean="0"/>
            <a:t>тенденція</a:t>
          </a:r>
          <a:r>
            <a:rPr lang="ru-RU" dirty="0" smtClean="0"/>
            <a:t> </a:t>
          </a:r>
          <a:r>
            <a:rPr lang="ru-RU" dirty="0" err="1" smtClean="0"/>
            <a:t>сучасного</a:t>
          </a:r>
          <a:r>
            <a:rPr lang="ru-RU" dirty="0" smtClean="0"/>
            <a:t> дизайну сайту.</a:t>
          </a:r>
          <a:endParaRPr lang="ru-RU" dirty="0"/>
        </a:p>
      </dgm:t>
    </dgm:pt>
    <dgm:pt modelId="{1AB44B10-60EF-4D0A-ABA8-768C498FAB71}" type="parTrans" cxnId="{57C911DC-4B84-457E-A3F8-8C9D360DCF28}">
      <dgm:prSet/>
      <dgm:spPr/>
      <dgm:t>
        <a:bodyPr/>
        <a:lstStyle/>
        <a:p>
          <a:endParaRPr lang="ru-RU"/>
        </a:p>
      </dgm:t>
    </dgm:pt>
    <dgm:pt modelId="{96BC3174-E828-438E-AA9B-F4268EA4A748}" type="sibTrans" cxnId="{57C911DC-4B84-457E-A3F8-8C9D360DCF28}">
      <dgm:prSet/>
      <dgm:spPr/>
      <dgm:t>
        <a:bodyPr/>
        <a:lstStyle/>
        <a:p>
          <a:endParaRPr lang="ru-RU"/>
        </a:p>
      </dgm:t>
    </dgm:pt>
    <dgm:pt modelId="{182401C1-216B-42FF-BD09-6C31BE023C71}" type="pres">
      <dgm:prSet presAssocID="{13A7A4F7-6012-460E-A6C1-02E0B010639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00593D8-ECCF-48A1-BEDB-CDE285A2D24D}" type="pres">
      <dgm:prSet presAssocID="{45B5680F-2981-4267-AE01-035A09FBCE0F}" presName="composite" presStyleCnt="0"/>
      <dgm:spPr/>
      <dgm:t>
        <a:bodyPr/>
        <a:lstStyle/>
        <a:p>
          <a:endParaRPr lang="ru-RU"/>
        </a:p>
      </dgm:t>
    </dgm:pt>
    <dgm:pt modelId="{DEE8D261-5725-466D-8715-C48E5B38985E}" type="pres">
      <dgm:prSet presAssocID="{45B5680F-2981-4267-AE01-035A09FBCE0F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C22444-8B9F-4A87-963D-E84EF5B67A9D}" type="pres">
      <dgm:prSet presAssocID="{45B5680F-2981-4267-AE01-035A09FBCE0F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4B4E8F-5D2D-407E-B940-50222C689CB0}" type="pres">
      <dgm:prSet presAssocID="{6E2ACDF5-5536-4BC2-831A-5E6918DB0E0C}" presName="sp" presStyleCnt="0"/>
      <dgm:spPr/>
      <dgm:t>
        <a:bodyPr/>
        <a:lstStyle/>
        <a:p>
          <a:endParaRPr lang="ru-RU"/>
        </a:p>
      </dgm:t>
    </dgm:pt>
    <dgm:pt modelId="{21262772-8D60-4628-A985-CB62394E438B}" type="pres">
      <dgm:prSet presAssocID="{B62F81EF-E1FB-43B5-8443-BCB9D72E8203}" presName="composite" presStyleCnt="0"/>
      <dgm:spPr/>
    </dgm:pt>
    <dgm:pt modelId="{1CAF44A3-2BCF-4A45-BFD2-14BFFBE96A0A}" type="pres">
      <dgm:prSet presAssocID="{B62F81EF-E1FB-43B5-8443-BCB9D72E8203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4BEBBB-1F4D-4B3B-8889-49796D42862F}" type="pres">
      <dgm:prSet presAssocID="{B62F81EF-E1FB-43B5-8443-BCB9D72E8203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60DDCB-8996-457F-86D1-59D3A7BE8A3A}" type="pres">
      <dgm:prSet presAssocID="{5754CE77-5FE8-4596-BEC7-59E2936FB961}" presName="sp" presStyleCnt="0"/>
      <dgm:spPr/>
    </dgm:pt>
    <dgm:pt modelId="{468844E9-F394-4E52-8EF6-3C8B665CA69F}" type="pres">
      <dgm:prSet presAssocID="{561300D6-8DB5-45A9-87E5-7345AEF746EB}" presName="composite" presStyleCnt="0"/>
      <dgm:spPr/>
    </dgm:pt>
    <dgm:pt modelId="{8CFA6287-C0B5-4CAF-B788-9E4F34A18395}" type="pres">
      <dgm:prSet presAssocID="{561300D6-8DB5-45A9-87E5-7345AEF746EB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64DE6D-7168-4579-B840-616402EDA566}" type="pres">
      <dgm:prSet presAssocID="{561300D6-8DB5-45A9-87E5-7345AEF746EB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D88416-353E-45A3-842B-1F5C4E3F6D3B}" type="pres">
      <dgm:prSet presAssocID="{5450C785-EFDB-416E-8CE2-5609C04B509F}" presName="sp" presStyleCnt="0"/>
      <dgm:spPr/>
    </dgm:pt>
    <dgm:pt modelId="{2D9C0C5A-A920-4064-8CEC-6764B30DB3FC}" type="pres">
      <dgm:prSet presAssocID="{3A0EDCCF-BF9F-495A-99D7-4BDD19F92A3D}" presName="composite" presStyleCnt="0"/>
      <dgm:spPr/>
    </dgm:pt>
    <dgm:pt modelId="{223FCFD0-977B-430B-9C0E-BA0E2600EE76}" type="pres">
      <dgm:prSet presAssocID="{3A0EDCCF-BF9F-495A-99D7-4BDD19F92A3D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65178F-3EE4-4EA3-A698-4C2031A3C37C}" type="pres">
      <dgm:prSet presAssocID="{3A0EDCCF-BF9F-495A-99D7-4BDD19F92A3D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E71BB2-A66B-4385-A68E-B9A74197AD3C}" type="presOf" srcId="{ED99367C-72AC-4B8F-A1E8-8BE2AC737E1B}" destId="{B84BEBBB-1F4D-4B3B-8889-49796D42862F}" srcOrd="0" destOrd="0" presId="urn:microsoft.com/office/officeart/2005/8/layout/chevron2"/>
    <dgm:cxn modelId="{2D58E8AE-3124-493A-89A1-D29DA95F7550}" srcId="{B62F81EF-E1FB-43B5-8443-BCB9D72E8203}" destId="{ED99367C-72AC-4B8F-A1E8-8BE2AC737E1B}" srcOrd="0" destOrd="0" parTransId="{327A5845-2217-425A-AA6B-7EFBC79E545A}" sibTransId="{2C63237F-7103-4C5E-831A-86E27584643E}"/>
    <dgm:cxn modelId="{EEBC98BB-5FF5-4707-8A94-9D9F075AECC9}" srcId="{45B5680F-2981-4267-AE01-035A09FBCE0F}" destId="{E702F4AB-DFED-4A81-8817-D83D0DBF1FBC}" srcOrd="0" destOrd="0" parTransId="{EBDDCCC9-D466-468C-AA74-2B5D30D1F9AC}" sibTransId="{C43BAF79-11FB-4BC6-89E4-DAEEBBD4C9E0}"/>
    <dgm:cxn modelId="{27499420-A1AF-49D7-AB3E-8C71584F673F}" type="presOf" srcId="{B62F81EF-E1FB-43B5-8443-BCB9D72E8203}" destId="{1CAF44A3-2BCF-4A45-BFD2-14BFFBE96A0A}" srcOrd="0" destOrd="0" presId="urn:microsoft.com/office/officeart/2005/8/layout/chevron2"/>
    <dgm:cxn modelId="{30C47712-D3BB-4350-B41F-FC32C07C7C9E}" srcId="{13A7A4F7-6012-460E-A6C1-02E0B010639B}" destId="{45B5680F-2981-4267-AE01-035A09FBCE0F}" srcOrd="0" destOrd="0" parTransId="{41592D0F-84F3-4F8E-B6E4-FA017298CDE2}" sibTransId="{6E2ACDF5-5536-4BC2-831A-5E6918DB0E0C}"/>
    <dgm:cxn modelId="{F51F0760-EC6C-44D0-A7CC-A2320DD7B8BC}" type="presOf" srcId="{13A7A4F7-6012-460E-A6C1-02E0B010639B}" destId="{182401C1-216B-42FF-BD09-6C31BE023C71}" srcOrd="0" destOrd="0" presId="urn:microsoft.com/office/officeart/2005/8/layout/chevron2"/>
    <dgm:cxn modelId="{72F75E70-BE76-48C2-8648-199EAEF07DB2}" type="presOf" srcId="{561300D6-8DB5-45A9-87E5-7345AEF746EB}" destId="{8CFA6287-C0B5-4CAF-B788-9E4F34A18395}" srcOrd="0" destOrd="0" presId="urn:microsoft.com/office/officeart/2005/8/layout/chevron2"/>
    <dgm:cxn modelId="{C0586496-A261-4E54-8934-F58B3C994DDB}" type="presOf" srcId="{E702F4AB-DFED-4A81-8817-D83D0DBF1FBC}" destId="{D6C22444-8B9F-4A87-963D-E84EF5B67A9D}" srcOrd="0" destOrd="0" presId="urn:microsoft.com/office/officeart/2005/8/layout/chevron2"/>
    <dgm:cxn modelId="{A4D30CCF-FCA1-42CB-B788-B4BFCE4253D8}" type="presOf" srcId="{3A0EDCCF-BF9F-495A-99D7-4BDD19F92A3D}" destId="{223FCFD0-977B-430B-9C0E-BA0E2600EE76}" srcOrd="0" destOrd="0" presId="urn:microsoft.com/office/officeart/2005/8/layout/chevron2"/>
    <dgm:cxn modelId="{003C5C23-55FB-4E75-96FF-A1A56D412573}" srcId="{561300D6-8DB5-45A9-87E5-7345AEF746EB}" destId="{20C0A260-6598-4D92-899D-95F4B537BB4F}" srcOrd="0" destOrd="0" parTransId="{A40C9A61-B2F6-4FC7-985D-A1F6D3BE9F71}" sibTransId="{E429854E-365B-42D1-97F5-48AD5C620731}"/>
    <dgm:cxn modelId="{57C911DC-4B84-457E-A3F8-8C9D360DCF28}" srcId="{3A0EDCCF-BF9F-495A-99D7-4BDD19F92A3D}" destId="{C8477F6B-805E-47C3-9733-74AE7F601379}" srcOrd="0" destOrd="0" parTransId="{1AB44B10-60EF-4D0A-ABA8-768C498FAB71}" sibTransId="{96BC3174-E828-438E-AA9B-F4268EA4A748}"/>
    <dgm:cxn modelId="{E1C83BC5-F6BF-4A18-B2F8-743B01B8DBBA}" type="presOf" srcId="{20C0A260-6598-4D92-899D-95F4B537BB4F}" destId="{F464DE6D-7168-4579-B840-616402EDA566}" srcOrd="0" destOrd="0" presId="urn:microsoft.com/office/officeart/2005/8/layout/chevron2"/>
    <dgm:cxn modelId="{978FDB70-6A64-4C28-B788-279DC531C4BD}" srcId="{13A7A4F7-6012-460E-A6C1-02E0B010639B}" destId="{3A0EDCCF-BF9F-495A-99D7-4BDD19F92A3D}" srcOrd="3" destOrd="0" parTransId="{18F9B9C0-9C8D-47C4-A2B7-994019CBE224}" sibTransId="{DED1E8C6-8D7E-4A5E-BC06-69C50C23E221}"/>
    <dgm:cxn modelId="{CC1C2526-7B58-4C72-AFDE-83340BDEE20C}" type="presOf" srcId="{45B5680F-2981-4267-AE01-035A09FBCE0F}" destId="{DEE8D261-5725-466D-8715-C48E5B38985E}" srcOrd="0" destOrd="0" presId="urn:microsoft.com/office/officeart/2005/8/layout/chevron2"/>
    <dgm:cxn modelId="{408168A1-5C69-4F89-8E8B-FD355EE6FE8A}" type="presOf" srcId="{C8477F6B-805E-47C3-9733-74AE7F601379}" destId="{BA65178F-3EE4-4EA3-A698-4C2031A3C37C}" srcOrd="0" destOrd="0" presId="urn:microsoft.com/office/officeart/2005/8/layout/chevron2"/>
    <dgm:cxn modelId="{4341FA34-EC6C-4115-96C6-DFAA1BDB6207}" srcId="{13A7A4F7-6012-460E-A6C1-02E0B010639B}" destId="{B62F81EF-E1FB-43B5-8443-BCB9D72E8203}" srcOrd="1" destOrd="0" parTransId="{E6C58B39-3E2C-4C86-89A9-D7BAA5EE62DE}" sibTransId="{5754CE77-5FE8-4596-BEC7-59E2936FB961}"/>
    <dgm:cxn modelId="{BF3247FB-1655-4BC5-AA38-F5B13CD629CD}" srcId="{13A7A4F7-6012-460E-A6C1-02E0B010639B}" destId="{561300D6-8DB5-45A9-87E5-7345AEF746EB}" srcOrd="2" destOrd="0" parTransId="{B0A0FEFA-FC30-4676-B296-720031654C40}" sibTransId="{5450C785-EFDB-416E-8CE2-5609C04B509F}"/>
    <dgm:cxn modelId="{9C52DD57-6C27-4B77-BAF9-51C0D616E1F4}" type="presParOf" srcId="{182401C1-216B-42FF-BD09-6C31BE023C71}" destId="{300593D8-ECCF-48A1-BEDB-CDE285A2D24D}" srcOrd="0" destOrd="0" presId="urn:microsoft.com/office/officeart/2005/8/layout/chevron2"/>
    <dgm:cxn modelId="{1FC3CCAE-DC13-4105-AEEB-426C5FD5A689}" type="presParOf" srcId="{300593D8-ECCF-48A1-BEDB-CDE285A2D24D}" destId="{DEE8D261-5725-466D-8715-C48E5B38985E}" srcOrd="0" destOrd="0" presId="urn:microsoft.com/office/officeart/2005/8/layout/chevron2"/>
    <dgm:cxn modelId="{ED02B6CF-4356-4405-9D03-7BB38EFF02AE}" type="presParOf" srcId="{300593D8-ECCF-48A1-BEDB-CDE285A2D24D}" destId="{D6C22444-8B9F-4A87-963D-E84EF5B67A9D}" srcOrd="1" destOrd="0" presId="urn:microsoft.com/office/officeart/2005/8/layout/chevron2"/>
    <dgm:cxn modelId="{0E972135-85BF-4F6B-AE28-75E054DDB330}" type="presParOf" srcId="{182401C1-216B-42FF-BD09-6C31BE023C71}" destId="{374B4E8F-5D2D-407E-B940-50222C689CB0}" srcOrd="1" destOrd="0" presId="urn:microsoft.com/office/officeart/2005/8/layout/chevron2"/>
    <dgm:cxn modelId="{69ECC1D9-F2DE-45AB-BAD9-3B596A490C90}" type="presParOf" srcId="{182401C1-216B-42FF-BD09-6C31BE023C71}" destId="{21262772-8D60-4628-A985-CB62394E438B}" srcOrd="2" destOrd="0" presId="urn:microsoft.com/office/officeart/2005/8/layout/chevron2"/>
    <dgm:cxn modelId="{CD240B7A-5A00-4614-8DF3-C2CDE447F3D6}" type="presParOf" srcId="{21262772-8D60-4628-A985-CB62394E438B}" destId="{1CAF44A3-2BCF-4A45-BFD2-14BFFBE96A0A}" srcOrd="0" destOrd="0" presId="urn:microsoft.com/office/officeart/2005/8/layout/chevron2"/>
    <dgm:cxn modelId="{AC6EFFE8-15E5-4053-A442-7F5370D0C792}" type="presParOf" srcId="{21262772-8D60-4628-A985-CB62394E438B}" destId="{B84BEBBB-1F4D-4B3B-8889-49796D42862F}" srcOrd="1" destOrd="0" presId="urn:microsoft.com/office/officeart/2005/8/layout/chevron2"/>
    <dgm:cxn modelId="{A0EC2EC2-D552-4B2E-9B0A-7E250A23265C}" type="presParOf" srcId="{182401C1-216B-42FF-BD09-6C31BE023C71}" destId="{6760DDCB-8996-457F-86D1-59D3A7BE8A3A}" srcOrd="3" destOrd="0" presId="urn:microsoft.com/office/officeart/2005/8/layout/chevron2"/>
    <dgm:cxn modelId="{D3C5B3B7-8275-4FF1-B436-804FC562277B}" type="presParOf" srcId="{182401C1-216B-42FF-BD09-6C31BE023C71}" destId="{468844E9-F394-4E52-8EF6-3C8B665CA69F}" srcOrd="4" destOrd="0" presId="urn:microsoft.com/office/officeart/2005/8/layout/chevron2"/>
    <dgm:cxn modelId="{5B6D6CF0-3E6A-469A-BF6F-209A9DFB6196}" type="presParOf" srcId="{468844E9-F394-4E52-8EF6-3C8B665CA69F}" destId="{8CFA6287-C0B5-4CAF-B788-9E4F34A18395}" srcOrd="0" destOrd="0" presId="urn:microsoft.com/office/officeart/2005/8/layout/chevron2"/>
    <dgm:cxn modelId="{B52DA397-D755-4236-999B-3BDA38B0907E}" type="presParOf" srcId="{468844E9-F394-4E52-8EF6-3C8B665CA69F}" destId="{F464DE6D-7168-4579-B840-616402EDA566}" srcOrd="1" destOrd="0" presId="urn:microsoft.com/office/officeart/2005/8/layout/chevron2"/>
    <dgm:cxn modelId="{2CE386AD-9096-471F-9CAF-E127F6248364}" type="presParOf" srcId="{182401C1-216B-42FF-BD09-6C31BE023C71}" destId="{D0D88416-353E-45A3-842B-1F5C4E3F6D3B}" srcOrd="5" destOrd="0" presId="urn:microsoft.com/office/officeart/2005/8/layout/chevron2"/>
    <dgm:cxn modelId="{FDA12938-2AAE-4E05-8A98-9D1935594292}" type="presParOf" srcId="{182401C1-216B-42FF-BD09-6C31BE023C71}" destId="{2D9C0C5A-A920-4064-8CEC-6764B30DB3FC}" srcOrd="6" destOrd="0" presId="urn:microsoft.com/office/officeart/2005/8/layout/chevron2"/>
    <dgm:cxn modelId="{6A97CDB7-9066-471F-BCB5-CFD8433CDBE9}" type="presParOf" srcId="{2D9C0C5A-A920-4064-8CEC-6764B30DB3FC}" destId="{223FCFD0-977B-430B-9C0E-BA0E2600EE76}" srcOrd="0" destOrd="0" presId="urn:microsoft.com/office/officeart/2005/8/layout/chevron2"/>
    <dgm:cxn modelId="{F7E6DA7A-9951-4A05-95AC-C2ADEA7310EF}" type="presParOf" srcId="{2D9C0C5A-A920-4064-8CEC-6764B30DB3FC}" destId="{BA65178F-3EE4-4EA3-A698-4C2031A3C37C}" srcOrd="1" destOrd="0" presId="urn:microsoft.com/office/officeart/2005/8/layout/chevron2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2CC444E-A99C-49E0-8818-1396CF43D552}" type="doc">
      <dgm:prSet loTypeId="urn:microsoft.com/office/officeart/2005/8/layout/vList6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EA80888-0F85-40C3-B35A-7C94888D4F72}">
      <dgm:prSet phldrT="[Текст]"/>
      <dgm:spPr/>
      <dgm:t>
        <a:bodyPr/>
        <a:lstStyle/>
        <a:p>
          <a:r>
            <a:rPr lang="uk-UA" dirty="0" smtClean="0"/>
            <a:t>Статичні</a:t>
          </a:r>
          <a:endParaRPr lang="ru-RU" dirty="0"/>
        </a:p>
      </dgm:t>
    </dgm:pt>
    <dgm:pt modelId="{DF3156D8-51DD-4602-96BE-5E091ED462F0}" type="parTrans" cxnId="{9E207CD1-8B45-42C2-BC89-DE46AC810A10}">
      <dgm:prSet/>
      <dgm:spPr/>
      <dgm:t>
        <a:bodyPr/>
        <a:lstStyle/>
        <a:p>
          <a:endParaRPr lang="ru-RU"/>
        </a:p>
      </dgm:t>
    </dgm:pt>
    <dgm:pt modelId="{E81A3A6F-44A7-4A95-BD01-C75FE0A09061}" type="sibTrans" cxnId="{9E207CD1-8B45-42C2-BC89-DE46AC810A10}">
      <dgm:prSet/>
      <dgm:spPr/>
      <dgm:t>
        <a:bodyPr/>
        <a:lstStyle/>
        <a:p>
          <a:endParaRPr lang="ru-RU"/>
        </a:p>
      </dgm:t>
    </dgm:pt>
    <dgm:pt modelId="{CEDB4D28-C34D-4174-A537-A80A90456EF2}">
      <dgm:prSet phldrT="[Текст]"/>
      <dgm:spPr/>
      <dgm:t>
        <a:bodyPr/>
        <a:lstStyle/>
        <a:p>
          <a:r>
            <a:rPr lang="ru-RU" b="0" i="0" dirty="0" err="1" smtClean="0"/>
            <a:t>Сторінки</a:t>
          </a:r>
          <a:r>
            <a:rPr lang="ru-RU" b="0" i="0" dirty="0" smtClean="0"/>
            <a:t> </a:t>
          </a:r>
          <a:r>
            <a:rPr lang="ru-RU" b="0" i="0" dirty="0" err="1" smtClean="0"/>
            <a:t>відображаються</a:t>
          </a:r>
          <a:r>
            <a:rPr lang="ru-RU" b="0" i="0" dirty="0" smtClean="0"/>
            <a:t> у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smtClean="0"/>
            <a:t>тому </a:t>
          </a:r>
          <a:r>
            <a:rPr lang="ru-RU" b="0" i="0" dirty="0" err="1" smtClean="0"/>
            <a:t>вигляді</a:t>
          </a:r>
          <a:r>
            <a:rPr lang="ru-RU" b="0" i="0" dirty="0" smtClean="0"/>
            <a:t>, в </a:t>
          </a:r>
          <a:r>
            <a:rPr lang="ru-RU" b="0" i="0" dirty="0" err="1" smtClean="0"/>
            <a:t>якому</a:t>
          </a:r>
          <a:r>
            <a:rPr lang="ru-RU" b="0" i="0" dirty="0" smtClean="0"/>
            <a:t> вони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зберігаються</a:t>
          </a:r>
          <a:r>
            <a:rPr lang="ru-RU" b="0" i="0" dirty="0" smtClean="0"/>
            <a:t> на </a:t>
          </a:r>
          <a:r>
            <a:rPr lang="ru-RU" b="0" i="0" dirty="0" err="1" smtClean="0"/>
            <a:t>сервері</a:t>
          </a:r>
          <a:r>
            <a:rPr lang="ru-RU" b="0" i="0" dirty="0" smtClean="0"/>
            <a:t>, весь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їх</a:t>
          </a:r>
          <a:r>
            <a:rPr lang="ru-RU" b="0" i="0" dirty="0" smtClean="0"/>
            <a:t> </a:t>
          </a:r>
          <a:r>
            <a:rPr lang="ru-RU" b="0" i="0" dirty="0" err="1" smtClean="0"/>
            <a:t>вміст</a:t>
          </a:r>
          <a:r>
            <a:rPr lang="ru-RU" b="0" i="0" dirty="0" smtClean="0"/>
            <a:t> </a:t>
          </a:r>
          <a:r>
            <a:rPr lang="ru-RU" b="0" i="0" dirty="0" err="1" smtClean="0"/>
            <a:t>готується</a:t>
          </a:r>
          <a:r>
            <a:rPr lang="ru-RU" b="0" i="0" dirty="0" smtClean="0"/>
            <a:t> </a:t>
          </a:r>
          <a:r>
            <a:rPr lang="ru-RU" b="0" i="0" dirty="0" err="1" smtClean="0"/>
            <a:t>заздалегідь</a:t>
          </a:r>
          <a:endParaRPr lang="ru-RU" dirty="0"/>
        </a:p>
      </dgm:t>
    </dgm:pt>
    <dgm:pt modelId="{809B4F8A-144E-4921-B6D3-1F9A2CFC12CD}" type="parTrans" cxnId="{DB218554-4FBE-4F8B-8893-631B65C23631}">
      <dgm:prSet/>
      <dgm:spPr/>
      <dgm:t>
        <a:bodyPr/>
        <a:lstStyle/>
        <a:p>
          <a:endParaRPr lang="ru-RU"/>
        </a:p>
      </dgm:t>
    </dgm:pt>
    <dgm:pt modelId="{DD3124FD-BF99-4B2F-A024-F29EABE77BCE}" type="sibTrans" cxnId="{DB218554-4FBE-4F8B-8893-631B65C23631}">
      <dgm:prSet/>
      <dgm:spPr/>
      <dgm:t>
        <a:bodyPr/>
        <a:lstStyle/>
        <a:p>
          <a:endParaRPr lang="ru-RU"/>
        </a:p>
      </dgm:t>
    </dgm:pt>
    <dgm:pt modelId="{5B883BBF-9F43-4D8B-B318-C9FA6063AAB7}">
      <dgm:prSet phldrT="[Текст]"/>
      <dgm:spPr/>
      <dgm:t>
        <a:bodyPr/>
        <a:lstStyle/>
        <a:p>
          <a:r>
            <a:rPr lang="uk-UA" dirty="0" smtClean="0"/>
            <a:t>Динамічні</a:t>
          </a:r>
          <a:endParaRPr lang="ru-RU" dirty="0"/>
        </a:p>
      </dgm:t>
    </dgm:pt>
    <dgm:pt modelId="{4E020772-1E57-403A-A323-7A46D3AE3AC6}" type="parTrans" cxnId="{DB59002F-9A08-4A2C-BE3E-0065546B1626}">
      <dgm:prSet/>
      <dgm:spPr/>
      <dgm:t>
        <a:bodyPr/>
        <a:lstStyle/>
        <a:p>
          <a:endParaRPr lang="ru-RU"/>
        </a:p>
      </dgm:t>
    </dgm:pt>
    <dgm:pt modelId="{5A7F6BD2-E24C-442E-AC5D-FB81ECD5060C}" type="sibTrans" cxnId="{DB59002F-9A08-4A2C-BE3E-0065546B1626}">
      <dgm:prSet/>
      <dgm:spPr/>
      <dgm:t>
        <a:bodyPr/>
        <a:lstStyle/>
        <a:p>
          <a:endParaRPr lang="ru-RU"/>
        </a:p>
      </dgm:t>
    </dgm:pt>
    <dgm:pt modelId="{F7580A68-8B87-48E6-8A43-414D6C4A5BA4}">
      <dgm:prSet phldrT="[Текст]"/>
      <dgm:spPr/>
      <dgm:t>
        <a:bodyPr/>
        <a:lstStyle/>
        <a:p>
          <a:r>
            <a:rPr lang="ru-RU" b="0" i="0" dirty="0" err="1" smtClean="0"/>
            <a:t>Сайти</a:t>
          </a:r>
          <a:r>
            <a:rPr lang="ru-RU" b="0" i="0" dirty="0" smtClean="0"/>
            <a:t>, у </a:t>
          </a:r>
          <a:r>
            <a:rPr lang="ru-RU" b="0" i="0" dirty="0" err="1" smtClean="0"/>
            <a:t>яких</a:t>
          </a:r>
          <a:r>
            <a:rPr lang="ru-RU" b="0" i="0" dirty="0" smtClean="0"/>
            <a:t> </a:t>
          </a:r>
          <a:r>
            <a:rPr lang="ru-RU" b="0" i="0" dirty="0" err="1" smtClean="0"/>
            <a:t>веб-сторінки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генеруються</a:t>
          </a:r>
          <a:r>
            <a:rPr lang="ru-RU" b="0" i="0" dirty="0" smtClean="0"/>
            <a:t>, </a:t>
          </a:r>
          <a:r>
            <a:rPr lang="ru-RU" b="0" i="0" dirty="0" err="1" smtClean="0"/>
            <a:t>або</a:t>
          </a:r>
          <a:r>
            <a:rPr lang="ru-RU" b="0" i="0" dirty="0" smtClean="0"/>
            <a:t> </a:t>
          </a:r>
          <a:r>
            <a:rPr lang="ru-RU" b="0" i="0" dirty="0" err="1" smtClean="0"/>
            <a:t>формуються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у</a:t>
          </a:r>
          <a:r>
            <a:rPr lang="ru-RU" b="0" i="0" dirty="0" smtClean="0"/>
            <a:t> </a:t>
          </a:r>
          <a:r>
            <a:rPr lang="ru-RU" b="0" i="0" dirty="0" err="1" smtClean="0"/>
            <a:t>процесі</a:t>
          </a:r>
          <a:r>
            <a:rPr lang="ru-RU" b="0" i="0" dirty="0" smtClean="0"/>
            <a:t> </a:t>
          </a:r>
          <a:r>
            <a:rPr lang="ru-RU" b="0" i="0" dirty="0" err="1" smtClean="0"/>
            <a:t>виконання</a:t>
          </a:r>
          <a:r>
            <a:rPr lang="ru-RU" b="0" i="0" dirty="0" smtClean="0"/>
            <a:t> </a:t>
          </a:r>
          <a:r>
            <a:rPr lang="ru-RU" b="0" i="0" dirty="0" err="1" smtClean="0"/>
            <a:t>запиту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користувача</a:t>
          </a:r>
          <a:endParaRPr lang="ru-RU" dirty="0"/>
        </a:p>
      </dgm:t>
    </dgm:pt>
    <dgm:pt modelId="{79FC832B-F984-4E62-B715-51C0D44A445A}" type="parTrans" cxnId="{93B4EBB6-28A7-4328-91F0-2DF997CCF6C8}">
      <dgm:prSet/>
      <dgm:spPr/>
      <dgm:t>
        <a:bodyPr/>
        <a:lstStyle/>
        <a:p>
          <a:endParaRPr lang="ru-RU"/>
        </a:p>
      </dgm:t>
    </dgm:pt>
    <dgm:pt modelId="{BBD67FB7-6AF3-492B-A186-01E0DFD47ECA}" type="sibTrans" cxnId="{93B4EBB6-28A7-4328-91F0-2DF997CCF6C8}">
      <dgm:prSet/>
      <dgm:spPr/>
      <dgm:t>
        <a:bodyPr/>
        <a:lstStyle/>
        <a:p>
          <a:endParaRPr lang="ru-RU"/>
        </a:p>
      </dgm:t>
    </dgm:pt>
    <dgm:pt modelId="{9D3BEF0A-23B5-42ED-94D8-C6705B07BA66}" type="pres">
      <dgm:prSet presAssocID="{B2CC444E-A99C-49E0-8818-1396CF43D55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6481BC6-6052-4882-827A-DCF5620030A2}" type="pres">
      <dgm:prSet presAssocID="{9EA80888-0F85-40C3-B35A-7C94888D4F72}" presName="linNode" presStyleCnt="0"/>
      <dgm:spPr/>
    </dgm:pt>
    <dgm:pt modelId="{2C29B039-BF2E-497A-9DA8-024A74B65DDF}" type="pres">
      <dgm:prSet presAssocID="{9EA80888-0F85-40C3-B35A-7C94888D4F72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8841D3-15B8-49AF-84CE-CF1F4748D606}" type="pres">
      <dgm:prSet presAssocID="{9EA80888-0F85-40C3-B35A-7C94888D4F72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B12169-E632-45EF-9A01-4A01C158414B}" type="pres">
      <dgm:prSet presAssocID="{E81A3A6F-44A7-4A95-BD01-C75FE0A09061}" presName="spacing" presStyleCnt="0"/>
      <dgm:spPr/>
    </dgm:pt>
    <dgm:pt modelId="{B1872571-AA44-493F-BED9-E91846BD3134}" type="pres">
      <dgm:prSet presAssocID="{5B883BBF-9F43-4D8B-B318-C9FA6063AAB7}" presName="linNode" presStyleCnt="0"/>
      <dgm:spPr/>
    </dgm:pt>
    <dgm:pt modelId="{D3F76B2F-A825-46DB-A242-BBDF7D62B5A1}" type="pres">
      <dgm:prSet presAssocID="{5B883BBF-9F43-4D8B-B318-C9FA6063AAB7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523D27-0CDE-42E0-8067-5F6FEFF539DA}" type="pres">
      <dgm:prSet presAssocID="{5B883BBF-9F43-4D8B-B318-C9FA6063AAB7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B218554-4FBE-4F8B-8893-631B65C23631}" srcId="{9EA80888-0F85-40C3-B35A-7C94888D4F72}" destId="{CEDB4D28-C34D-4174-A537-A80A90456EF2}" srcOrd="0" destOrd="0" parTransId="{809B4F8A-144E-4921-B6D3-1F9A2CFC12CD}" sibTransId="{DD3124FD-BF99-4B2F-A024-F29EABE77BCE}"/>
    <dgm:cxn modelId="{9E207CD1-8B45-42C2-BC89-DE46AC810A10}" srcId="{B2CC444E-A99C-49E0-8818-1396CF43D552}" destId="{9EA80888-0F85-40C3-B35A-7C94888D4F72}" srcOrd="0" destOrd="0" parTransId="{DF3156D8-51DD-4602-96BE-5E091ED462F0}" sibTransId="{E81A3A6F-44A7-4A95-BD01-C75FE0A09061}"/>
    <dgm:cxn modelId="{2BA558B4-5B6D-480F-A6B9-C3A3D3DABA0A}" type="presOf" srcId="{F7580A68-8B87-48E6-8A43-414D6C4A5BA4}" destId="{CE523D27-0CDE-42E0-8067-5F6FEFF539DA}" srcOrd="0" destOrd="0" presId="urn:microsoft.com/office/officeart/2005/8/layout/vList6"/>
    <dgm:cxn modelId="{E5BBDF62-26FB-4203-A515-1E0492082ED5}" type="presOf" srcId="{9EA80888-0F85-40C3-B35A-7C94888D4F72}" destId="{2C29B039-BF2E-497A-9DA8-024A74B65DDF}" srcOrd="0" destOrd="0" presId="urn:microsoft.com/office/officeart/2005/8/layout/vList6"/>
    <dgm:cxn modelId="{2D4C244A-1A4A-455C-B713-A89B0882DF24}" type="presOf" srcId="{CEDB4D28-C34D-4174-A537-A80A90456EF2}" destId="{EF8841D3-15B8-49AF-84CE-CF1F4748D606}" srcOrd="0" destOrd="0" presId="urn:microsoft.com/office/officeart/2005/8/layout/vList6"/>
    <dgm:cxn modelId="{93B4EBB6-28A7-4328-91F0-2DF997CCF6C8}" srcId="{5B883BBF-9F43-4D8B-B318-C9FA6063AAB7}" destId="{F7580A68-8B87-48E6-8A43-414D6C4A5BA4}" srcOrd="0" destOrd="0" parTransId="{79FC832B-F984-4E62-B715-51C0D44A445A}" sibTransId="{BBD67FB7-6AF3-492B-A186-01E0DFD47ECA}"/>
    <dgm:cxn modelId="{C47F8A41-39E7-455F-8925-C0D6C1961062}" type="presOf" srcId="{5B883BBF-9F43-4D8B-B318-C9FA6063AAB7}" destId="{D3F76B2F-A825-46DB-A242-BBDF7D62B5A1}" srcOrd="0" destOrd="0" presId="urn:microsoft.com/office/officeart/2005/8/layout/vList6"/>
    <dgm:cxn modelId="{B949A1E4-740C-43F5-BD79-1EA33A19322A}" type="presOf" srcId="{B2CC444E-A99C-49E0-8818-1396CF43D552}" destId="{9D3BEF0A-23B5-42ED-94D8-C6705B07BA66}" srcOrd="0" destOrd="0" presId="urn:microsoft.com/office/officeart/2005/8/layout/vList6"/>
    <dgm:cxn modelId="{DB59002F-9A08-4A2C-BE3E-0065546B1626}" srcId="{B2CC444E-A99C-49E0-8818-1396CF43D552}" destId="{5B883BBF-9F43-4D8B-B318-C9FA6063AAB7}" srcOrd="1" destOrd="0" parTransId="{4E020772-1E57-403A-A323-7A46D3AE3AC6}" sibTransId="{5A7F6BD2-E24C-442E-AC5D-FB81ECD5060C}"/>
    <dgm:cxn modelId="{FC54D862-D846-437C-89F5-7DAE4818B326}" type="presParOf" srcId="{9D3BEF0A-23B5-42ED-94D8-C6705B07BA66}" destId="{C6481BC6-6052-4882-827A-DCF5620030A2}" srcOrd="0" destOrd="0" presId="urn:microsoft.com/office/officeart/2005/8/layout/vList6"/>
    <dgm:cxn modelId="{E8CB0943-F692-4F8E-B875-6B40E2438BDE}" type="presParOf" srcId="{C6481BC6-6052-4882-827A-DCF5620030A2}" destId="{2C29B039-BF2E-497A-9DA8-024A74B65DDF}" srcOrd="0" destOrd="0" presId="urn:microsoft.com/office/officeart/2005/8/layout/vList6"/>
    <dgm:cxn modelId="{F48B55B7-C91E-45AB-B504-CEFA7C172FB0}" type="presParOf" srcId="{C6481BC6-6052-4882-827A-DCF5620030A2}" destId="{EF8841D3-15B8-49AF-84CE-CF1F4748D606}" srcOrd="1" destOrd="0" presId="urn:microsoft.com/office/officeart/2005/8/layout/vList6"/>
    <dgm:cxn modelId="{CF16A87F-08E1-4321-A127-457B453E5F1E}" type="presParOf" srcId="{9D3BEF0A-23B5-42ED-94D8-C6705B07BA66}" destId="{5BB12169-E632-45EF-9A01-4A01C158414B}" srcOrd="1" destOrd="0" presId="urn:microsoft.com/office/officeart/2005/8/layout/vList6"/>
    <dgm:cxn modelId="{89B08CD7-46EE-44C8-9683-62B70BB2298D}" type="presParOf" srcId="{9D3BEF0A-23B5-42ED-94D8-C6705B07BA66}" destId="{B1872571-AA44-493F-BED9-E91846BD3134}" srcOrd="2" destOrd="0" presId="urn:microsoft.com/office/officeart/2005/8/layout/vList6"/>
    <dgm:cxn modelId="{8CB1B537-7CE2-46B0-AB4D-140E33957A3C}" type="presParOf" srcId="{B1872571-AA44-493F-BED9-E91846BD3134}" destId="{D3F76B2F-A825-46DB-A242-BBDF7D62B5A1}" srcOrd="0" destOrd="0" presId="urn:microsoft.com/office/officeart/2005/8/layout/vList6"/>
    <dgm:cxn modelId="{6CABBED4-E3A4-4BB7-90C0-4A254FFBC53F}" type="presParOf" srcId="{B1872571-AA44-493F-BED9-E91846BD3134}" destId="{CE523D27-0CDE-42E0-8067-5F6FEFF539DA}" srcOrd="1" destOrd="0" presId="urn:microsoft.com/office/officeart/2005/8/layout/vList6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5DE4A1-A920-4B08-981F-6ADA2ADF4E17}" type="doc">
      <dgm:prSet loTypeId="urn:microsoft.com/office/officeart/2005/8/layout/hList1" loCatId="list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C987FF61-C0AE-4620-BCC0-96AB2114425F}">
      <dgm:prSet phldrT="[Текст]"/>
      <dgm:spPr/>
      <dgm:t>
        <a:bodyPr/>
        <a:lstStyle/>
        <a:p>
          <a:r>
            <a:rPr lang="ru-RU" b="1" i="0" smtClean="0"/>
            <a:t>Пасивні</a:t>
          </a:r>
          <a:endParaRPr lang="ru-RU" b="1" dirty="0"/>
        </a:p>
      </dgm:t>
    </dgm:pt>
    <dgm:pt modelId="{E6A9284D-DAD0-41AF-9489-424E9DF68D81}" type="parTrans" cxnId="{7150FFCD-FF33-4B7A-BE1F-82951DB3BEA7}">
      <dgm:prSet/>
      <dgm:spPr/>
      <dgm:t>
        <a:bodyPr/>
        <a:lstStyle/>
        <a:p>
          <a:endParaRPr lang="ru-RU"/>
        </a:p>
      </dgm:t>
    </dgm:pt>
    <dgm:pt modelId="{62D38FB3-40AC-4BE0-9E1C-877028B48AA7}" type="sibTrans" cxnId="{7150FFCD-FF33-4B7A-BE1F-82951DB3BEA7}">
      <dgm:prSet/>
      <dgm:spPr/>
      <dgm:t>
        <a:bodyPr/>
        <a:lstStyle/>
        <a:p>
          <a:endParaRPr lang="ru-RU"/>
        </a:p>
      </dgm:t>
    </dgm:pt>
    <dgm:pt modelId="{37FECDA4-A568-47A0-AF1A-D9457C025D18}">
      <dgm:prSet phldrT="[Текст]"/>
      <dgm:spPr/>
      <dgm:t>
        <a:bodyPr/>
        <a:lstStyle/>
        <a:p>
          <a:r>
            <a:rPr lang="ru-RU" b="0" i="0" dirty="0" err="1" smtClean="0"/>
            <a:t>Сайти</a:t>
          </a:r>
          <a:r>
            <a:rPr lang="ru-RU" b="0" i="0" dirty="0" smtClean="0"/>
            <a:t> </a:t>
          </a:r>
          <a:r>
            <a:rPr lang="ru-RU" b="0" i="0" dirty="0" err="1" smtClean="0"/>
            <a:t>з</a:t>
          </a:r>
          <a:r>
            <a:rPr lang="ru-RU" b="0" i="0" dirty="0" smtClean="0"/>
            <a:t> “</a:t>
          </a:r>
          <a:r>
            <a:rPr lang="ru-RU" b="0" i="0" dirty="0" err="1" smtClean="0"/>
            <a:t>пасивними</a:t>
          </a:r>
          <a:r>
            <a:rPr lang="ru-RU" b="0" i="0" dirty="0" smtClean="0"/>
            <a:t>” </a:t>
          </a:r>
          <a:r>
            <a:rPr lang="ru-RU" b="0" i="0" dirty="0" err="1" smtClean="0"/>
            <a:t>вебсторінками</a:t>
          </a:r>
          <a:r>
            <a:rPr lang="ru-RU" b="0" i="0" dirty="0" smtClean="0"/>
            <a:t> (</a:t>
          </a:r>
          <a:r>
            <a:rPr lang="ru-RU" b="0" i="0" dirty="0" err="1" smtClean="0"/>
            <a:t>користувач</a:t>
          </a:r>
          <a:r>
            <a:rPr lang="ru-RU" b="0" i="0" dirty="0" smtClean="0"/>
            <a:t> </a:t>
          </a:r>
          <a:r>
            <a:rPr lang="ru-RU" b="0" i="0" dirty="0" err="1" smtClean="0"/>
            <a:t>може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лише</a:t>
          </a:r>
          <a:r>
            <a:rPr lang="ru-RU" b="0" i="0" dirty="0" smtClean="0"/>
            <a:t> </a:t>
          </a:r>
          <a:r>
            <a:rPr lang="ru-RU" b="0" i="0" dirty="0" err="1" smtClean="0"/>
            <a:t>переглядати</a:t>
          </a:r>
          <a:r>
            <a:rPr lang="ru-RU" b="0" i="0" dirty="0" smtClean="0"/>
            <a:t> </a:t>
          </a:r>
          <a:r>
            <a:rPr lang="ru-RU" b="0" i="0" dirty="0" err="1" smtClean="0"/>
            <a:t>відомості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smtClean="0"/>
            <a:t>на </a:t>
          </a:r>
          <a:r>
            <a:rPr lang="ru-RU" b="0" i="0" dirty="0" err="1" smtClean="0"/>
            <a:t>веб-сторінці</a:t>
          </a:r>
          <a:r>
            <a:rPr lang="ru-RU" b="0" i="0" dirty="0" smtClean="0"/>
            <a:t>)</a:t>
          </a:r>
          <a:endParaRPr lang="ru-RU" dirty="0"/>
        </a:p>
      </dgm:t>
    </dgm:pt>
    <dgm:pt modelId="{5BF235E6-6C8E-4B2F-B8B0-1751EC89C5CF}" type="parTrans" cxnId="{971A4C20-4DE2-4D27-A362-CFC225A090B3}">
      <dgm:prSet/>
      <dgm:spPr/>
      <dgm:t>
        <a:bodyPr/>
        <a:lstStyle/>
        <a:p>
          <a:endParaRPr lang="ru-RU"/>
        </a:p>
      </dgm:t>
    </dgm:pt>
    <dgm:pt modelId="{B64B8BF3-B099-4201-9365-16112F759F20}" type="sibTrans" cxnId="{971A4C20-4DE2-4D27-A362-CFC225A090B3}">
      <dgm:prSet/>
      <dgm:spPr/>
      <dgm:t>
        <a:bodyPr/>
        <a:lstStyle/>
        <a:p>
          <a:endParaRPr lang="ru-RU"/>
        </a:p>
      </dgm:t>
    </dgm:pt>
    <dgm:pt modelId="{3F05AFA3-6A7E-4B31-8EDD-B2F50E347DAB}">
      <dgm:prSet phldrT="[Текст]"/>
      <dgm:spPr/>
      <dgm:t>
        <a:bodyPr/>
        <a:lstStyle/>
        <a:p>
          <a:r>
            <a:rPr lang="ru-RU" b="1" i="0" smtClean="0"/>
            <a:t>Інтерактивні</a:t>
          </a:r>
          <a:endParaRPr lang="ru-RU" b="1" dirty="0"/>
        </a:p>
      </dgm:t>
    </dgm:pt>
    <dgm:pt modelId="{8F815887-CD43-49A6-8AF8-82EAADC0337B}" type="parTrans" cxnId="{E6178B43-8594-4362-AC5C-6058AA0185B7}">
      <dgm:prSet/>
      <dgm:spPr/>
      <dgm:t>
        <a:bodyPr/>
        <a:lstStyle/>
        <a:p>
          <a:endParaRPr lang="ru-RU"/>
        </a:p>
      </dgm:t>
    </dgm:pt>
    <dgm:pt modelId="{F8906512-A9DA-4E36-9C29-B52F33322F1A}" type="sibTrans" cxnId="{E6178B43-8594-4362-AC5C-6058AA0185B7}">
      <dgm:prSet/>
      <dgm:spPr/>
      <dgm:t>
        <a:bodyPr/>
        <a:lstStyle/>
        <a:p>
          <a:endParaRPr lang="ru-RU"/>
        </a:p>
      </dgm:t>
    </dgm:pt>
    <dgm:pt modelId="{DC9F14F0-2C4E-4C50-94CB-CAC3E4654787}">
      <dgm:prSet phldrT="[Текст]"/>
      <dgm:spPr/>
      <dgm:t>
        <a:bodyPr/>
        <a:lstStyle/>
        <a:p>
          <a:r>
            <a:rPr lang="ru-RU" b="0" i="0" dirty="0" err="1" smtClean="0"/>
            <a:t>Користувач</a:t>
          </a:r>
          <a:r>
            <a:rPr lang="ru-RU" b="0" i="0" dirty="0" smtClean="0"/>
            <a:t> </a:t>
          </a:r>
          <a:r>
            <a:rPr lang="ru-RU" b="0" i="0" dirty="0" err="1" smtClean="0"/>
            <a:t>має</a:t>
          </a:r>
          <a:r>
            <a:rPr lang="ru-RU" b="0" i="0" dirty="0" smtClean="0"/>
            <a:t> </a:t>
          </a:r>
          <a:r>
            <a:rPr lang="ru-RU" b="0" i="0" dirty="0" err="1" smtClean="0"/>
            <a:t>можливість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обмінюватися</a:t>
          </a:r>
          <a:r>
            <a:rPr lang="ru-RU" b="0" i="0" dirty="0" smtClean="0"/>
            <a:t> </a:t>
          </a:r>
          <a:r>
            <a:rPr lang="ru-RU" b="0" i="0" dirty="0" err="1" smtClean="0"/>
            <a:t>даними</a:t>
          </a:r>
          <a:r>
            <a:rPr lang="ru-RU" b="0" i="0" dirty="0" smtClean="0"/>
            <a:t> </a:t>
          </a:r>
          <a:r>
            <a:rPr lang="ru-RU" b="0" i="0" dirty="0" err="1" smtClean="0"/>
            <a:t>із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smtClean="0"/>
            <a:t>сервером</a:t>
          </a:r>
          <a:endParaRPr lang="ru-RU" dirty="0"/>
        </a:p>
      </dgm:t>
    </dgm:pt>
    <dgm:pt modelId="{40B531E2-36B9-464C-AD44-D3DC04FAA00B}" type="parTrans" cxnId="{D5828F11-3D36-431C-94A8-470CEDEA6302}">
      <dgm:prSet/>
      <dgm:spPr/>
      <dgm:t>
        <a:bodyPr/>
        <a:lstStyle/>
        <a:p>
          <a:endParaRPr lang="ru-RU"/>
        </a:p>
      </dgm:t>
    </dgm:pt>
    <dgm:pt modelId="{00019B8D-B8F2-4231-9C56-FF9C25528789}" type="sibTrans" cxnId="{D5828F11-3D36-431C-94A8-470CEDEA6302}">
      <dgm:prSet/>
      <dgm:spPr/>
      <dgm:t>
        <a:bodyPr/>
        <a:lstStyle/>
        <a:p>
          <a:endParaRPr lang="ru-RU"/>
        </a:p>
      </dgm:t>
    </dgm:pt>
    <dgm:pt modelId="{C2A2ABC3-F6E4-4EAD-9045-7659D4F2B8B9}" type="pres">
      <dgm:prSet presAssocID="{615DE4A1-A920-4B08-981F-6ADA2ADF4E1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B49EA78-DA2C-45DD-8C8B-FF5E715820B8}" type="pres">
      <dgm:prSet presAssocID="{C987FF61-C0AE-4620-BCC0-96AB2114425F}" presName="composite" presStyleCnt="0"/>
      <dgm:spPr/>
    </dgm:pt>
    <dgm:pt modelId="{A70A5CCF-D2BB-4473-A345-A23D3FF86670}" type="pres">
      <dgm:prSet presAssocID="{C987FF61-C0AE-4620-BCC0-96AB2114425F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293CA4-7688-4A5D-B436-EAE0FBFDF20B}" type="pres">
      <dgm:prSet presAssocID="{C987FF61-C0AE-4620-BCC0-96AB2114425F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64C427-6478-4897-8563-BBC3477A78E3}" type="pres">
      <dgm:prSet presAssocID="{62D38FB3-40AC-4BE0-9E1C-877028B48AA7}" presName="space" presStyleCnt="0"/>
      <dgm:spPr/>
    </dgm:pt>
    <dgm:pt modelId="{AECDA632-AEAF-4AB5-92AD-A83762130346}" type="pres">
      <dgm:prSet presAssocID="{3F05AFA3-6A7E-4B31-8EDD-B2F50E347DAB}" presName="composite" presStyleCnt="0"/>
      <dgm:spPr/>
    </dgm:pt>
    <dgm:pt modelId="{BA9C5D2C-A5D9-46FF-A4DD-57C0A906AD4C}" type="pres">
      <dgm:prSet presAssocID="{3F05AFA3-6A7E-4B31-8EDD-B2F50E347DAB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6E2DFD-51B8-4080-B882-32769A02184E}" type="pres">
      <dgm:prSet presAssocID="{3F05AFA3-6A7E-4B31-8EDD-B2F50E347DAB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6178B43-8594-4362-AC5C-6058AA0185B7}" srcId="{615DE4A1-A920-4B08-981F-6ADA2ADF4E17}" destId="{3F05AFA3-6A7E-4B31-8EDD-B2F50E347DAB}" srcOrd="1" destOrd="0" parTransId="{8F815887-CD43-49A6-8AF8-82EAADC0337B}" sibTransId="{F8906512-A9DA-4E36-9C29-B52F33322F1A}"/>
    <dgm:cxn modelId="{E21DBC43-8C69-4251-984C-09A9EF3BABFB}" type="presOf" srcId="{37FECDA4-A568-47A0-AF1A-D9457C025D18}" destId="{14293CA4-7688-4A5D-B436-EAE0FBFDF20B}" srcOrd="0" destOrd="0" presId="urn:microsoft.com/office/officeart/2005/8/layout/hList1"/>
    <dgm:cxn modelId="{7150FFCD-FF33-4B7A-BE1F-82951DB3BEA7}" srcId="{615DE4A1-A920-4B08-981F-6ADA2ADF4E17}" destId="{C987FF61-C0AE-4620-BCC0-96AB2114425F}" srcOrd="0" destOrd="0" parTransId="{E6A9284D-DAD0-41AF-9489-424E9DF68D81}" sibTransId="{62D38FB3-40AC-4BE0-9E1C-877028B48AA7}"/>
    <dgm:cxn modelId="{D5828F11-3D36-431C-94A8-470CEDEA6302}" srcId="{3F05AFA3-6A7E-4B31-8EDD-B2F50E347DAB}" destId="{DC9F14F0-2C4E-4C50-94CB-CAC3E4654787}" srcOrd="0" destOrd="0" parTransId="{40B531E2-36B9-464C-AD44-D3DC04FAA00B}" sibTransId="{00019B8D-B8F2-4231-9C56-FF9C25528789}"/>
    <dgm:cxn modelId="{5EB122EF-D38F-43D2-809C-63CFA88B2E12}" type="presOf" srcId="{DC9F14F0-2C4E-4C50-94CB-CAC3E4654787}" destId="{F06E2DFD-51B8-4080-B882-32769A02184E}" srcOrd="0" destOrd="0" presId="urn:microsoft.com/office/officeart/2005/8/layout/hList1"/>
    <dgm:cxn modelId="{C383C32B-39E2-495D-8259-A62960FC93A4}" type="presOf" srcId="{C987FF61-C0AE-4620-BCC0-96AB2114425F}" destId="{A70A5CCF-D2BB-4473-A345-A23D3FF86670}" srcOrd="0" destOrd="0" presId="urn:microsoft.com/office/officeart/2005/8/layout/hList1"/>
    <dgm:cxn modelId="{078D969B-B9A8-430E-9F44-A98DB6BBDD94}" type="presOf" srcId="{615DE4A1-A920-4B08-981F-6ADA2ADF4E17}" destId="{C2A2ABC3-F6E4-4EAD-9045-7659D4F2B8B9}" srcOrd="0" destOrd="0" presId="urn:microsoft.com/office/officeart/2005/8/layout/hList1"/>
    <dgm:cxn modelId="{971A4C20-4DE2-4D27-A362-CFC225A090B3}" srcId="{C987FF61-C0AE-4620-BCC0-96AB2114425F}" destId="{37FECDA4-A568-47A0-AF1A-D9457C025D18}" srcOrd="0" destOrd="0" parTransId="{5BF235E6-6C8E-4B2F-B8B0-1751EC89C5CF}" sibTransId="{B64B8BF3-B099-4201-9365-16112F759F20}"/>
    <dgm:cxn modelId="{25AEABE5-1020-48C4-87EC-A9E9FBCD2EBA}" type="presOf" srcId="{3F05AFA3-6A7E-4B31-8EDD-B2F50E347DAB}" destId="{BA9C5D2C-A5D9-46FF-A4DD-57C0A906AD4C}" srcOrd="0" destOrd="0" presId="urn:microsoft.com/office/officeart/2005/8/layout/hList1"/>
    <dgm:cxn modelId="{B82BD020-0E9D-4AF5-A5EC-95A5489B17A4}" type="presParOf" srcId="{C2A2ABC3-F6E4-4EAD-9045-7659D4F2B8B9}" destId="{AB49EA78-DA2C-45DD-8C8B-FF5E715820B8}" srcOrd="0" destOrd="0" presId="urn:microsoft.com/office/officeart/2005/8/layout/hList1"/>
    <dgm:cxn modelId="{96E7A2E3-455B-4BA8-B1A3-ECED938B1F5B}" type="presParOf" srcId="{AB49EA78-DA2C-45DD-8C8B-FF5E715820B8}" destId="{A70A5CCF-D2BB-4473-A345-A23D3FF86670}" srcOrd="0" destOrd="0" presId="urn:microsoft.com/office/officeart/2005/8/layout/hList1"/>
    <dgm:cxn modelId="{F707BF12-2313-4B77-BF75-87D3C7057204}" type="presParOf" srcId="{AB49EA78-DA2C-45DD-8C8B-FF5E715820B8}" destId="{14293CA4-7688-4A5D-B436-EAE0FBFDF20B}" srcOrd="1" destOrd="0" presId="urn:microsoft.com/office/officeart/2005/8/layout/hList1"/>
    <dgm:cxn modelId="{1898B2A6-3166-4DDF-8174-C4517DDFA230}" type="presParOf" srcId="{C2A2ABC3-F6E4-4EAD-9045-7659D4F2B8B9}" destId="{BC64C427-6478-4897-8563-BBC3477A78E3}" srcOrd="1" destOrd="0" presId="urn:microsoft.com/office/officeart/2005/8/layout/hList1"/>
    <dgm:cxn modelId="{66F08547-7997-4B5D-8F0B-88115C670A69}" type="presParOf" srcId="{C2A2ABC3-F6E4-4EAD-9045-7659D4F2B8B9}" destId="{AECDA632-AEAF-4AB5-92AD-A83762130346}" srcOrd="2" destOrd="0" presId="urn:microsoft.com/office/officeart/2005/8/layout/hList1"/>
    <dgm:cxn modelId="{DB9AE258-4F33-40F7-86FB-D3F2594E18CF}" type="presParOf" srcId="{AECDA632-AEAF-4AB5-92AD-A83762130346}" destId="{BA9C5D2C-A5D9-46FF-A4DD-57C0A906AD4C}" srcOrd="0" destOrd="0" presId="urn:microsoft.com/office/officeart/2005/8/layout/hList1"/>
    <dgm:cxn modelId="{B892097F-BFF9-4E74-BF57-6FB7256FFD44}" type="presParOf" srcId="{AECDA632-AEAF-4AB5-92AD-A83762130346}" destId="{F06E2DFD-51B8-4080-B882-32769A02184E}" srcOrd="1" destOrd="0" presId="urn:microsoft.com/office/officeart/2005/8/layout/h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2B1C762-5805-485F-8BBB-229C7D571F3C}" type="doc">
      <dgm:prSet loTypeId="urn:microsoft.com/office/officeart/2005/8/layout/vList5" loCatId="list" qsTypeId="urn:microsoft.com/office/officeart/2005/8/quickstyle/simple2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8F5B8F6D-58B1-4860-8099-14D97DF39D37}">
      <dgm:prSet phldrT="[Текст]"/>
      <dgm:spPr/>
      <dgm:t>
        <a:bodyPr/>
        <a:lstStyle/>
        <a:p>
          <a:r>
            <a:rPr lang="ru-RU" b="0" i="0" dirty="0" err="1" smtClean="0"/>
            <a:t>Зовнішні</a:t>
          </a:r>
          <a:endParaRPr lang="ru-RU" dirty="0"/>
        </a:p>
      </dgm:t>
    </dgm:pt>
    <dgm:pt modelId="{8CE05682-67DD-4948-9352-3A96DDE2F438}" type="parTrans" cxnId="{0AFE7E74-72AD-4E87-9CF9-320CB32B7E66}">
      <dgm:prSet/>
      <dgm:spPr/>
      <dgm:t>
        <a:bodyPr/>
        <a:lstStyle/>
        <a:p>
          <a:endParaRPr lang="ru-RU"/>
        </a:p>
      </dgm:t>
    </dgm:pt>
    <dgm:pt modelId="{755C59F8-AEAD-45D0-91E7-C31FC92DC29E}" type="sibTrans" cxnId="{0AFE7E74-72AD-4E87-9CF9-320CB32B7E66}">
      <dgm:prSet/>
      <dgm:spPr/>
      <dgm:t>
        <a:bodyPr/>
        <a:lstStyle/>
        <a:p>
          <a:endParaRPr lang="ru-RU"/>
        </a:p>
      </dgm:t>
    </dgm:pt>
    <dgm:pt modelId="{03E4EE86-2A5C-46E5-AE15-CDC4E81CA6CB}">
      <dgm:prSet phldrT="[Текст]"/>
      <dgm:spPr/>
      <dgm:t>
        <a:bodyPr/>
        <a:lstStyle/>
        <a:p>
          <a:r>
            <a:rPr lang="ru-RU" b="0" i="0" dirty="0" err="1" smtClean="0"/>
            <a:t>Зовнішні</a:t>
          </a:r>
          <a:r>
            <a:rPr lang="ru-RU" b="0" i="0" dirty="0" smtClean="0"/>
            <a:t> </a:t>
          </a:r>
          <a:r>
            <a:rPr lang="ru-RU" b="0" i="0" dirty="0" err="1" smtClean="0"/>
            <a:t>сайти</a:t>
          </a:r>
          <a:r>
            <a:rPr lang="ru-RU" b="0" i="0" dirty="0" smtClean="0"/>
            <a:t> </a:t>
          </a:r>
          <a:r>
            <a:rPr lang="ru-RU" b="0" i="0" dirty="0" err="1" smtClean="0"/>
            <a:t>мережі</a:t>
          </a:r>
          <a:endParaRPr lang="ru-RU" dirty="0"/>
        </a:p>
      </dgm:t>
    </dgm:pt>
    <dgm:pt modelId="{4401A2D6-FC77-45B4-8050-FDEB0C0A04DA}" type="parTrans" cxnId="{EEF576DB-3778-427D-8033-2BFEC77F240B}">
      <dgm:prSet/>
      <dgm:spPr/>
      <dgm:t>
        <a:bodyPr/>
        <a:lstStyle/>
        <a:p>
          <a:endParaRPr lang="ru-RU"/>
        </a:p>
      </dgm:t>
    </dgm:pt>
    <dgm:pt modelId="{1372FE85-45CE-4C44-90C8-9351F2B09AE9}" type="sibTrans" cxnId="{EEF576DB-3778-427D-8033-2BFEC77F240B}">
      <dgm:prSet/>
      <dgm:spPr/>
      <dgm:t>
        <a:bodyPr/>
        <a:lstStyle/>
        <a:p>
          <a:endParaRPr lang="ru-RU"/>
        </a:p>
      </dgm:t>
    </dgm:pt>
    <dgm:pt modelId="{BD9CC171-23CF-4FC9-AC46-EE4381F8F93A}">
      <dgm:prSet phldrT="[Текст]"/>
      <dgm:spPr/>
      <dgm:t>
        <a:bodyPr/>
        <a:lstStyle/>
        <a:p>
          <a:r>
            <a:rPr lang="ru-RU" b="0" i="0" dirty="0" err="1" smtClean="0"/>
            <a:t>Локальні</a:t>
          </a:r>
          <a:endParaRPr lang="ru-RU" dirty="0"/>
        </a:p>
      </dgm:t>
    </dgm:pt>
    <dgm:pt modelId="{5E76A498-3631-4506-B4F9-0D419D49C7F9}" type="parTrans" cxnId="{676F4991-8C9D-4A76-AC46-4C0C9093C97F}">
      <dgm:prSet/>
      <dgm:spPr/>
      <dgm:t>
        <a:bodyPr/>
        <a:lstStyle/>
        <a:p>
          <a:endParaRPr lang="ru-RU"/>
        </a:p>
      </dgm:t>
    </dgm:pt>
    <dgm:pt modelId="{36AE53CD-14E1-4CBA-AF0D-F21E7EB0DCEC}" type="sibTrans" cxnId="{676F4991-8C9D-4A76-AC46-4C0C9093C97F}">
      <dgm:prSet/>
      <dgm:spPr/>
      <dgm:t>
        <a:bodyPr/>
        <a:lstStyle/>
        <a:p>
          <a:endParaRPr lang="ru-RU"/>
        </a:p>
      </dgm:t>
    </dgm:pt>
    <dgm:pt modelId="{1BEF8B1B-580D-4749-960F-F8145548305E}">
      <dgm:prSet phldrT="[Текст]"/>
      <dgm:spPr/>
      <dgm:t>
        <a:bodyPr/>
        <a:lstStyle/>
        <a:p>
          <a:r>
            <a:rPr lang="ru-RU" b="0" i="0" dirty="0" err="1" smtClean="0"/>
            <a:t>Локальні</a:t>
          </a:r>
          <a:r>
            <a:rPr lang="ru-RU" b="0" i="0" dirty="0" smtClean="0"/>
            <a:t> </a:t>
          </a:r>
          <a:r>
            <a:rPr lang="ru-RU" b="0" i="0" dirty="0" err="1" smtClean="0"/>
            <a:t>сайти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доступні</a:t>
          </a:r>
          <a:r>
            <a:rPr lang="ru-RU" b="0" i="0" dirty="0" smtClean="0"/>
            <a:t> </a:t>
          </a:r>
          <a:r>
            <a:rPr lang="ru-RU" b="0" i="0" dirty="0" err="1" smtClean="0"/>
            <a:t>лише</a:t>
          </a:r>
          <a:r>
            <a:rPr lang="ru-RU" b="0" i="0" dirty="0" smtClean="0"/>
            <a:t> в межах</a:t>
          </a:r>
          <a:r>
            <a:rPr lang="ru-RU" dirty="0" smtClean="0"/>
            <a:t/>
          </a:r>
          <a:br>
            <a:rPr lang="ru-RU" dirty="0" smtClean="0"/>
          </a:br>
          <a:r>
            <a:rPr lang="ru-RU" b="0" i="0" dirty="0" err="1" smtClean="0"/>
            <a:t>локальної</a:t>
          </a:r>
          <a:r>
            <a:rPr lang="ru-RU" b="0" i="0" dirty="0" smtClean="0"/>
            <a:t> </a:t>
          </a:r>
          <a:r>
            <a:rPr lang="ru-RU" b="0" i="0" dirty="0" err="1" smtClean="0"/>
            <a:t>мережі</a:t>
          </a:r>
          <a:endParaRPr lang="ru-RU" dirty="0"/>
        </a:p>
      </dgm:t>
    </dgm:pt>
    <dgm:pt modelId="{FCAFCE05-0A67-4C43-9404-E91E67878025}" type="parTrans" cxnId="{DE65D2CB-AA71-4BA8-BFAA-F114F1F8C6FD}">
      <dgm:prSet/>
      <dgm:spPr/>
      <dgm:t>
        <a:bodyPr/>
        <a:lstStyle/>
        <a:p>
          <a:endParaRPr lang="ru-RU"/>
        </a:p>
      </dgm:t>
    </dgm:pt>
    <dgm:pt modelId="{AADD0119-2050-4346-B68E-D119B12E9FF1}" type="sibTrans" cxnId="{DE65D2CB-AA71-4BA8-BFAA-F114F1F8C6FD}">
      <dgm:prSet/>
      <dgm:spPr/>
      <dgm:t>
        <a:bodyPr/>
        <a:lstStyle/>
        <a:p>
          <a:endParaRPr lang="ru-RU"/>
        </a:p>
      </dgm:t>
    </dgm:pt>
    <dgm:pt modelId="{194C79CC-D6C4-485F-9BEB-B34EFBD3EC57}" type="pres">
      <dgm:prSet presAssocID="{72B1C762-5805-485F-8BBB-229C7D571F3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B34AB9-6C5B-4551-B285-CF904ED229BB}" type="pres">
      <dgm:prSet presAssocID="{8F5B8F6D-58B1-4860-8099-14D97DF39D37}" presName="linNode" presStyleCnt="0"/>
      <dgm:spPr/>
    </dgm:pt>
    <dgm:pt modelId="{683D8B3D-207E-436F-BBE4-847A9DB45234}" type="pres">
      <dgm:prSet presAssocID="{8F5B8F6D-58B1-4860-8099-14D97DF39D37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A43E7F-7075-4C68-A442-3DF5DFBEB136}" type="pres">
      <dgm:prSet presAssocID="{8F5B8F6D-58B1-4860-8099-14D97DF39D37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C7EF5D-E2F4-4718-9188-0E7C75650C54}" type="pres">
      <dgm:prSet presAssocID="{755C59F8-AEAD-45D0-91E7-C31FC92DC29E}" presName="sp" presStyleCnt="0"/>
      <dgm:spPr/>
    </dgm:pt>
    <dgm:pt modelId="{74ABBB39-F9F5-476A-BF83-C72E4C88CEE4}" type="pres">
      <dgm:prSet presAssocID="{BD9CC171-23CF-4FC9-AC46-EE4381F8F93A}" presName="linNode" presStyleCnt="0"/>
      <dgm:spPr/>
    </dgm:pt>
    <dgm:pt modelId="{2379CEFD-699B-4A86-B91E-B5D2DE9740FA}" type="pres">
      <dgm:prSet presAssocID="{BD9CC171-23CF-4FC9-AC46-EE4381F8F93A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3C191A-AF17-495C-8BB3-5C2581156103}" type="pres">
      <dgm:prSet presAssocID="{BD9CC171-23CF-4FC9-AC46-EE4381F8F93A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7C2DE9F-74DB-41ED-8F50-0EB66C1CCA47}" type="presOf" srcId="{72B1C762-5805-485F-8BBB-229C7D571F3C}" destId="{194C79CC-D6C4-485F-9BEB-B34EFBD3EC57}" srcOrd="0" destOrd="0" presId="urn:microsoft.com/office/officeart/2005/8/layout/vList5"/>
    <dgm:cxn modelId="{62334E44-499B-441E-93A4-9FA99411D23A}" type="presOf" srcId="{8F5B8F6D-58B1-4860-8099-14D97DF39D37}" destId="{683D8B3D-207E-436F-BBE4-847A9DB45234}" srcOrd="0" destOrd="0" presId="urn:microsoft.com/office/officeart/2005/8/layout/vList5"/>
    <dgm:cxn modelId="{8147C437-2486-4F2D-8B0F-93E3EB9F3002}" type="presOf" srcId="{03E4EE86-2A5C-46E5-AE15-CDC4E81CA6CB}" destId="{8AA43E7F-7075-4C68-A442-3DF5DFBEB136}" srcOrd="0" destOrd="0" presId="urn:microsoft.com/office/officeart/2005/8/layout/vList5"/>
    <dgm:cxn modelId="{676F4991-8C9D-4A76-AC46-4C0C9093C97F}" srcId="{72B1C762-5805-485F-8BBB-229C7D571F3C}" destId="{BD9CC171-23CF-4FC9-AC46-EE4381F8F93A}" srcOrd="1" destOrd="0" parTransId="{5E76A498-3631-4506-B4F9-0D419D49C7F9}" sibTransId="{36AE53CD-14E1-4CBA-AF0D-F21E7EB0DCEC}"/>
    <dgm:cxn modelId="{EEF576DB-3778-427D-8033-2BFEC77F240B}" srcId="{8F5B8F6D-58B1-4860-8099-14D97DF39D37}" destId="{03E4EE86-2A5C-46E5-AE15-CDC4E81CA6CB}" srcOrd="0" destOrd="0" parTransId="{4401A2D6-FC77-45B4-8050-FDEB0C0A04DA}" sibTransId="{1372FE85-45CE-4C44-90C8-9351F2B09AE9}"/>
    <dgm:cxn modelId="{358882B6-8E27-4A51-ADC4-0DBA35861944}" type="presOf" srcId="{BD9CC171-23CF-4FC9-AC46-EE4381F8F93A}" destId="{2379CEFD-699B-4A86-B91E-B5D2DE9740FA}" srcOrd="0" destOrd="0" presId="urn:microsoft.com/office/officeart/2005/8/layout/vList5"/>
    <dgm:cxn modelId="{DE65D2CB-AA71-4BA8-BFAA-F114F1F8C6FD}" srcId="{BD9CC171-23CF-4FC9-AC46-EE4381F8F93A}" destId="{1BEF8B1B-580D-4749-960F-F8145548305E}" srcOrd="0" destOrd="0" parTransId="{FCAFCE05-0A67-4C43-9404-E91E67878025}" sibTransId="{AADD0119-2050-4346-B68E-D119B12E9FF1}"/>
    <dgm:cxn modelId="{7F4BDA3F-6913-4656-8C93-79B604FA1FA6}" type="presOf" srcId="{1BEF8B1B-580D-4749-960F-F8145548305E}" destId="{1A3C191A-AF17-495C-8BB3-5C2581156103}" srcOrd="0" destOrd="0" presId="urn:microsoft.com/office/officeart/2005/8/layout/vList5"/>
    <dgm:cxn modelId="{0AFE7E74-72AD-4E87-9CF9-320CB32B7E66}" srcId="{72B1C762-5805-485F-8BBB-229C7D571F3C}" destId="{8F5B8F6D-58B1-4860-8099-14D97DF39D37}" srcOrd="0" destOrd="0" parTransId="{8CE05682-67DD-4948-9352-3A96DDE2F438}" sibTransId="{755C59F8-AEAD-45D0-91E7-C31FC92DC29E}"/>
    <dgm:cxn modelId="{4DAECDED-98EB-48EB-8227-C15C5338327F}" type="presParOf" srcId="{194C79CC-D6C4-485F-9BEB-B34EFBD3EC57}" destId="{3BB34AB9-6C5B-4551-B285-CF904ED229BB}" srcOrd="0" destOrd="0" presId="urn:microsoft.com/office/officeart/2005/8/layout/vList5"/>
    <dgm:cxn modelId="{655B3FEC-C712-4D9D-9B9F-E0A06695F28F}" type="presParOf" srcId="{3BB34AB9-6C5B-4551-B285-CF904ED229BB}" destId="{683D8B3D-207E-436F-BBE4-847A9DB45234}" srcOrd="0" destOrd="0" presId="urn:microsoft.com/office/officeart/2005/8/layout/vList5"/>
    <dgm:cxn modelId="{620750F2-4D47-48A8-9C84-98F59E3BD93D}" type="presParOf" srcId="{3BB34AB9-6C5B-4551-B285-CF904ED229BB}" destId="{8AA43E7F-7075-4C68-A442-3DF5DFBEB136}" srcOrd="1" destOrd="0" presId="urn:microsoft.com/office/officeart/2005/8/layout/vList5"/>
    <dgm:cxn modelId="{E2D3D51A-5587-4383-ACFC-0BF447B7CFAE}" type="presParOf" srcId="{194C79CC-D6C4-485F-9BEB-B34EFBD3EC57}" destId="{33C7EF5D-E2F4-4718-9188-0E7C75650C54}" srcOrd="1" destOrd="0" presId="urn:microsoft.com/office/officeart/2005/8/layout/vList5"/>
    <dgm:cxn modelId="{A32ACDAB-0A04-4F7D-8AB5-0DC015A7CC4A}" type="presParOf" srcId="{194C79CC-D6C4-485F-9BEB-B34EFBD3EC57}" destId="{74ABBB39-F9F5-476A-BF83-C72E4C88CEE4}" srcOrd="2" destOrd="0" presId="urn:microsoft.com/office/officeart/2005/8/layout/vList5"/>
    <dgm:cxn modelId="{AFF14E56-1C7E-4414-8329-9838E667BD88}" type="presParOf" srcId="{74ABBB39-F9F5-476A-BF83-C72E4C88CEE4}" destId="{2379CEFD-699B-4A86-B91E-B5D2DE9740FA}" srcOrd="0" destOrd="0" presId="urn:microsoft.com/office/officeart/2005/8/layout/vList5"/>
    <dgm:cxn modelId="{07320E71-3797-48A1-8CC0-1A1198996900}" type="presParOf" srcId="{74ABBB39-F9F5-476A-BF83-C72E4C88CEE4}" destId="{1A3C191A-AF17-495C-8BB3-5C2581156103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7D2D8AE-5296-4B86-9DDD-CDE411EF96E6}" type="doc">
      <dgm:prSet loTypeId="urn:microsoft.com/office/officeart/2005/8/layout/list1" loCatId="list" qsTypeId="urn:microsoft.com/office/officeart/2005/8/quickstyle/simple2" qsCatId="simple" csTypeId="urn:microsoft.com/office/officeart/2005/8/colors/colorful1#2" csCatId="colorful" phldr="1"/>
      <dgm:spPr/>
      <dgm:t>
        <a:bodyPr/>
        <a:lstStyle/>
        <a:p>
          <a:endParaRPr lang="ru-RU"/>
        </a:p>
      </dgm:t>
    </dgm:pt>
    <dgm:pt modelId="{00E6CAFA-3B3E-44A0-977C-A1C1E7608EE5}">
      <dgm:prSet phldrT="[Текст]"/>
      <dgm:spPr/>
      <dgm:t>
        <a:bodyPr/>
        <a:lstStyle/>
        <a:p>
          <a:r>
            <a:rPr lang="ru-RU" b="0" i="0" dirty="0" err="1" smtClean="0"/>
            <a:t>Інформаційні</a:t>
          </a:r>
          <a:r>
            <a:rPr lang="ru-RU" b="0" i="0" dirty="0" smtClean="0"/>
            <a:t> </a:t>
          </a:r>
          <a:r>
            <a:rPr lang="ru-RU" b="0" i="0" dirty="0" err="1" smtClean="0"/>
            <a:t>ресурси</a:t>
          </a:r>
          <a:endParaRPr lang="ru-RU" dirty="0"/>
        </a:p>
      </dgm:t>
    </dgm:pt>
    <dgm:pt modelId="{BB4F4268-CB9E-41CC-92BC-574C79F418A2}" type="parTrans" cxnId="{A6F40AFC-B25A-4024-8597-FF2A0CF69690}">
      <dgm:prSet/>
      <dgm:spPr/>
      <dgm:t>
        <a:bodyPr/>
        <a:lstStyle/>
        <a:p>
          <a:endParaRPr lang="ru-RU"/>
        </a:p>
      </dgm:t>
    </dgm:pt>
    <dgm:pt modelId="{33BF5C0B-331B-4FE0-8303-9464325FAB27}" type="sibTrans" cxnId="{A6F40AFC-B25A-4024-8597-FF2A0CF69690}">
      <dgm:prSet/>
      <dgm:spPr/>
      <dgm:t>
        <a:bodyPr/>
        <a:lstStyle/>
        <a:p>
          <a:endParaRPr lang="ru-RU"/>
        </a:p>
      </dgm:t>
    </dgm:pt>
    <dgm:pt modelId="{26C4466C-7F16-44AF-B75E-853561F13F01}">
      <dgm:prSet phldrT="[Текст]"/>
      <dgm:spPr/>
      <dgm:t>
        <a:bodyPr/>
        <a:lstStyle/>
        <a:p>
          <a:r>
            <a:rPr lang="ru-RU" b="0" i="0" dirty="0" err="1" smtClean="0"/>
            <a:t>Веб-сервіси</a:t>
          </a:r>
          <a:endParaRPr lang="ru-RU" dirty="0"/>
        </a:p>
      </dgm:t>
    </dgm:pt>
    <dgm:pt modelId="{23AC07C7-6EAF-42F1-AE52-9FA3BBB9D9FD}" type="parTrans" cxnId="{5E661C1E-ECE6-47F1-8FB5-55BB258342B1}">
      <dgm:prSet/>
      <dgm:spPr/>
      <dgm:t>
        <a:bodyPr/>
        <a:lstStyle/>
        <a:p>
          <a:endParaRPr lang="ru-RU"/>
        </a:p>
      </dgm:t>
    </dgm:pt>
    <dgm:pt modelId="{8A517EFB-8F0D-44FC-8869-0765BF19313C}" type="sibTrans" cxnId="{5E661C1E-ECE6-47F1-8FB5-55BB258342B1}">
      <dgm:prSet/>
      <dgm:spPr/>
      <dgm:t>
        <a:bodyPr/>
        <a:lstStyle/>
        <a:p>
          <a:endParaRPr lang="ru-RU"/>
        </a:p>
      </dgm:t>
    </dgm:pt>
    <dgm:pt modelId="{F819CAE9-8F78-4FA0-A260-833BBB80D8BF}">
      <dgm:prSet phldrT="[Текст]"/>
      <dgm:spPr/>
      <dgm:t>
        <a:bodyPr/>
        <a:lstStyle/>
        <a:p>
          <a:r>
            <a:rPr lang="ru-RU" b="0" i="0" dirty="0" err="1" smtClean="0"/>
            <a:t>Інтернет-представництва</a:t>
          </a:r>
          <a:endParaRPr lang="ru-RU" dirty="0"/>
        </a:p>
      </dgm:t>
    </dgm:pt>
    <dgm:pt modelId="{73ABF9B2-541F-46C8-A76F-A35630C00D2F}" type="parTrans" cxnId="{6E89CE99-721F-42BA-A096-72E2F21C383D}">
      <dgm:prSet/>
      <dgm:spPr/>
      <dgm:t>
        <a:bodyPr/>
        <a:lstStyle/>
        <a:p>
          <a:endParaRPr lang="ru-RU"/>
        </a:p>
      </dgm:t>
    </dgm:pt>
    <dgm:pt modelId="{4831E548-8C2B-49DA-8182-E9C93F44C36B}" type="sibTrans" cxnId="{6E89CE99-721F-42BA-A096-72E2F21C383D}">
      <dgm:prSet/>
      <dgm:spPr/>
      <dgm:t>
        <a:bodyPr/>
        <a:lstStyle/>
        <a:p>
          <a:endParaRPr lang="ru-RU"/>
        </a:p>
      </dgm:t>
    </dgm:pt>
    <dgm:pt modelId="{56080E43-51E8-42CC-8032-B8BEE48D065E}" type="pres">
      <dgm:prSet presAssocID="{A7D2D8AE-5296-4B86-9DDD-CDE411EF96E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66411E7-992E-4C42-A2CC-C95AF05DEC65}" type="pres">
      <dgm:prSet presAssocID="{00E6CAFA-3B3E-44A0-977C-A1C1E7608EE5}" presName="parentLin" presStyleCnt="0"/>
      <dgm:spPr/>
    </dgm:pt>
    <dgm:pt modelId="{708F208D-6AA5-4E58-A0CB-FC27AD5A3556}" type="pres">
      <dgm:prSet presAssocID="{00E6CAFA-3B3E-44A0-977C-A1C1E7608EE5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B803A3CA-9AE2-4FC3-A5FA-9D95C28AAA6F}" type="pres">
      <dgm:prSet presAssocID="{00E6CAFA-3B3E-44A0-977C-A1C1E7608EE5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52712-3F53-4A36-BB8E-7A75CEDC808A}" type="pres">
      <dgm:prSet presAssocID="{00E6CAFA-3B3E-44A0-977C-A1C1E7608EE5}" presName="negativeSpace" presStyleCnt="0"/>
      <dgm:spPr/>
    </dgm:pt>
    <dgm:pt modelId="{DB3BDD6C-8BAB-4AD0-8542-339494C709C8}" type="pres">
      <dgm:prSet presAssocID="{00E6CAFA-3B3E-44A0-977C-A1C1E7608EE5}" presName="childText" presStyleLbl="conFgAcc1" presStyleIdx="0" presStyleCnt="3">
        <dgm:presLayoutVars>
          <dgm:bulletEnabled val="1"/>
        </dgm:presLayoutVars>
      </dgm:prSet>
      <dgm:spPr/>
    </dgm:pt>
    <dgm:pt modelId="{FA06A3D6-FA6B-4F0A-80BD-B98FD5ACF49C}" type="pres">
      <dgm:prSet presAssocID="{33BF5C0B-331B-4FE0-8303-9464325FAB27}" presName="spaceBetweenRectangles" presStyleCnt="0"/>
      <dgm:spPr/>
    </dgm:pt>
    <dgm:pt modelId="{08D60B2D-9719-48FF-89C4-3610529A9B33}" type="pres">
      <dgm:prSet presAssocID="{26C4466C-7F16-44AF-B75E-853561F13F01}" presName="parentLin" presStyleCnt="0"/>
      <dgm:spPr/>
    </dgm:pt>
    <dgm:pt modelId="{DBB2C98F-1675-4F2F-A80A-A083EF2EDD4C}" type="pres">
      <dgm:prSet presAssocID="{26C4466C-7F16-44AF-B75E-853561F13F01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148A49BF-6FDE-44EE-A5CF-7F1C502A5C92}" type="pres">
      <dgm:prSet presAssocID="{26C4466C-7F16-44AF-B75E-853561F13F0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A73E70-3E30-499C-806D-6D9E412AC9C0}" type="pres">
      <dgm:prSet presAssocID="{26C4466C-7F16-44AF-B75E-853561F13F01}" presName="negativeSpace" presStyleCnt="0"/>
      <dgm:spPr/>
    </dgm:pt>
    <dgm:pt modelId="{1E00F91D-7E1E-4F1E-BE01-45A9BA79943A}" type="pres">
      <dgm:prSet presAssocID="{26C4466C-7F16-44AF-B75E-853561F13F01}" presName="childText" presStyleLbl="conFgAcc1" presStyleIdx="1" presStyleCnt="3">
        <dgm:presLayoutVars>
          <dgm:bulletEnabled val="1"/>
        </dgm:presLayoutVars>
      </dgm:prSet>
      <dgm:spPr/>
    </dgm:pt>
    <dgm:pt modelId="{63FC6EC0-2ACF-4EB7-B0B0-A2344B54E7FE}" type="pres">
      <dgm:prSet presAssocID="{8A517EFB-8F0D-44FC-8869-0765BF19313C}" presName="spaceBetweenRectangles" presStyleCnt="0"/>
      <dgm:spPr/>
    </dgm:pt>
    <dgm:pt modelId="{BA69643F-8A88-4672-8CD2-C2243674E4D9}" type="pres">
      <dgm:prSet presAssocID="{F819CAE9-8F78-4FA0-A260-833BBB80D8BF}" presName="parentLin" presStyleCnt="0"/>
      <dgm:spPr/>
    </dgm:pt>
    <dgm:pt modelId="{D86878C0-E337-4358-915B-2A70492D0801}" type="pres">
      <dgm:prSet presAssocID="{F819CAE9-8F78-4FA0-A260-833BBB80D8BF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799AD530-B868-4B75-9C0D-4476D0C0C945}" type="pres">
      <dgm:prSet presAssocID="{F819CAE9-8F78-4FA0-A260-833BBB80D8B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3FD8F3-BD72-4ADA-B358-13EB014A92D8}" type="pres">
      <dgm:prSet presAssocID="{F819CAE9-8F78-4FA0-A260-833BBB80D8BF}" presName="negativeSpace" presStyleCnt="0"/>
      <dgm:spPr/>
    </dgm:pt>
    <dgm:pt modelId="{48A89599-0C3C-4887-BFF2-26577C668324}" type="pres">
      <dgm:prSet presAssocID="{F819CAE9-8F78-4FA0-A260-833BBB80D8BF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5E661C1E-ECE6-47F1-8FB5-55BB258342B1}" srcId="{A7D2D8AE-5296-4B86-9DDD-CDE411EF96E6}" destId="{26C4466C-7F16-44AF-B75E-853561F13F01}" srcOrd="1" destOrd="0" parTransId="{23AC07C7-6EAF-42F1-AE52-9FA3BBB9D9FD}" sibTransId="{8A517EFB-8F0D-44FC-8869-0765BF19313C}"/>
    <dgm:cxn modelId="{6E89CE99-721F-42BA-A096-72E2F21C383D}" srcId="{A7D2D8AE-5296-4B86-9DDD-CDE411EF96E6}" destId="{F819CAE9-8F78-4FA0-A260-833BBB80D8BF}" srcOrd="2" destOrd="0" parTransId="{73ABF9B2-541F-46C8-A76F-A35630C00D2F}" sibTransId="{4831E548-8C2B-49DA-8182-E9C93F44C36B}"/>
    <dgm:cxn modelId="{2BF76700-49E2-48CA-A47B-328EE8BEA93B}" type="presOf" srcId="{00E6CAFA-3B3E-44A0-977C-A1C1E7608EE5}" destId="{708F208D-6AA5-4E58-A0CB-FC27AD5A3556}" srcOrd="0" destOrd="0" presId="urn:microsoft.com/office/officeart/2005/8/layout/list1"/>
    <dgm:cxn modelId="{04D6AB57-27E8-48A7-BC06-B66F8B179A74}" type="presOf" srcId="{00E6CAFA-3B3E-44A0-977C-A1C1E7608EE5}" destId="{B803A3CA-9AE2-4FC3-A5FA-9D95C28AAA6F}" srcOrd="1" destOrd="0" presId="urn:microsoft.com/office/officeart/2005/8/layout/list1"/>
    <dgm:cxn modelId="{C189B429-C74B-4665-8B04-0B61790F21A1}" type="presOf" srcId="{26C4466C-7F16-44AF-B75E-853561F13F01}" destId="{148A49BF-6FDE-44EE-A5CF-7F1C502A5C92}" srcOrd="1" destOrd="0" presId="urn:microsoft.com/office/officeart/2005/8/layout/list1"/>
    <dgm:cxn modelId="{7F21D4C1-35A4-4D3F-BC53-C6526B13E643}" type="presOf" srcId="{F819CAE9-8F78-4FA0-A260-833BBB80D8BF}" destId="{D86878C0-E337-4358-915B-2A70492D0801}" srcOrd="0" destOrd="0" presId="urn:microsoft.com/office/officeart/2005/8/layout/list1"/>
    <dgm:cxn modelId="{A6F40AFC-B25A-4024-8597-FF2A0CF69690}" srcId="{A7D2D8AE-5296-4B86-9DDD-CDE411EF96E6}" destId="{00E6CAFA-3B3E-44A0-977C-A1C1E7608EE5}" srcOrd="0" destOrd="0" parTransId="{BB4F4268-CB9E-41CC-92BC-574C79F418A2}" sibTransId="{33BF5C0B-331B-4FE0-8303-9464325FAB27}"/>
    <dgm:cxn modelId="{68E41880-2647-4104-B37A-D48F7323F07E}" type="presOf" srcId="{A7D2D8AE-5296-4B86-9DDD-CDE411EF96E6}" destId="{56080E43-51E8-42CC-8032-B8BEE48D065E}" srcOrd="0" destOrd="0" presId="urn:microsoft.com/office/officeart/2005/8/layout/list1"/>
    <dgm:cxn modelId="{5601B9E7-EEF6-4F42-8AAD-85D4B7EBBE4A}" type="presOf" srcId="{26C4466C-7F16-44AF-B75E-853561F13F01}" destId="{DBB2C98F-1675-4F2F-A80A-A083EF2EDD4C}" srcOrd="0" destOrd="0" presId="urn:microsoft.com/office/officeart/2005/8/layout/list1"/>
    <dgm:cxn modelId="{38AB3CB3-B655-41F6-9CFA-03AF692B26C3}" type="presOf" srcId="{F819CAE9-8F78-4FA0-A260-833BBB80D8BF}" destId="{799AD530-B868-4B75-9C0D-4476D0C0C945}" srcOrd="1" destOrd="0" presId="urn:microsoft.com/office/officeart/2005/8/layout/list1"/>
    <dgm:cxn modelId="{FE22E57C-73DE-4003-ACCA-11CEE62A1616}" type="presParOf" srcId="{56080E43-51E8-42CC-8032-B8BEE48D065E}" destId="{B66411E7-992E-4C42-A2CC-C95AF05DEC65}" srcOrd="0" destOrd="0" presId="urn:microsoft.com/office/officeart/2005/8/layout/list1"/>
    <dgm:cxn modelId="{416A679C-A7D3-45A0-8893-0B6EB5F0EC1D}" type="presParOf" srcId="{B66411E7-992E-4C42-A2CC-C95AF05DEC65}" destId="{708F208D-6AA5-4E58-A0CB-FC27AD5A3556}" srcOrd="0" destOrd="0" presId="urn:microsoft.com/office/officeart/2005/8/layout/list1"/>
    <dgm:cxn modelId="{480C6E6A-C378-4967-B896-E4D57DB35D78}" type="presParOf" srcId="{B66411E7-992E-4C42-A2CC-C95AF05DEC65}" destId="{B803A3CA-9AE2-4FC3-A5FA-9D95C28AAA6F}" srcOrd="1" destOrd="0" presId="urn:microsoft.com/office/officeart/2005/8/layout/list1"/>
    <dgm:cxn modelId="{47E91D89-6B67-41A2-A976-1983398B215B}" type="presParOf" srcId="{56080E43-51E8-42CC-8032-B8BEE48D065E}" destId="{73552712-3F53-4A36-BB8E-7A75CEDC808A}" srcOrd="1" destOrd="0" presId="urn:microsoft.com/office/officeart/2005/8/layout/list1"/>
    <dgm:cxn modelId="{35EB7B84-2FDC-4ABD-8310-54EE446D607B}" type="presParOf" srcId="{56080E43-51E8-42CC-8032-B8BEE48D065E}" destId="{DB3BDD6C-8BAB-4AD0-8542-339494C709C8}" srcOrd="2" destOrd="0" presId="urn:microsoft.com/office/officeart/2005/8/layout/list1"/>
    <dgm:cxn modelId="{5050E844-74E6-4881-AD08-F6F0517F91AD}" type="presParOf" srcId="{56080E43-51E8-42CC-8032-B8BEE48D065E}" destId="{FA06A3D6-FA6B-4F0A-80BD-B98FD5ACF49C}" srcOrd="3" destOrd="0" presId="urn:microsoft.com/office/officeart/2005/8/layout/list1"/>
    <dgm:cxn modelId="{F1813CA1-3C0B-4C16-BD54-1F1E41D8CF02}" type="presParOf" srcId="{56080E43-51E8-42CC-8032-B8BEE48D065E}" destId="{08D60B2D-9719-48FF-89C4-3610529A9B33}" srcOrd="4" destOrd="0" presId="urn:microsoft.com/office/officeart/2005/8/layout/list1"/>
    <dgm:cxn modelId="{E59504DA-FF20-4265-B5AC-1DD8D5166F18}" type="presParOf" srcId="{08D60B2D-9719-48FF-89C4-3610529A9B33}" destId="{DBB2C98F-1675-4F2F-A80A-A083EF2EDD4C}" srcOrd="0" destOrd="0" presId="urn:microsoft.com/office/officeart/2005/8/layout/list1"/>
    <dgm:cxn modelId="{E58CAA4F-5E16-4F89-B2A7-AD98A45447B0}" type="presParOf" srcId="{08D60B2D-9719-48FF-89C4-3610529A9B33}" destId="{148A49BF-6FDE-44EE-A5CF-7F1C502A5C92}" srcOrd="1" destOrd="0" presId="urn:microsoft.com/office/officeart/2005/8/layout/list1"/>
    <dgm:cxn modelId="{35157186-2D21-4A46-9DC1-8D1543722CF9}" type="presParOf" srcId="{56080E43-51E8-42CC-8032-B8BEE48D065E}" destId="{F3A73E70-3E30-499C-806D-6D9E412AC9C0}" srcOrd="5" destOrd="0" presId="urn:microsoft.com/office/officeart/2005/8/layout/list1"/>
    <dgm:cxn modelId="{8FFA4740-E1D0-4568-B109-330C8A6A0121}" type="presParOf" srcId="{56080E43-51E8-42CC-8032-B8BEE48D065E}" destId="{1E00F91D-7E1E-4F1E-BE01-45A9BA79943A}" srcOrd="6" destOrd="0" presId="urn:microsoft.com/office/officeart/2005/8/layout/list1"/>
    <dgm:cxn modelId="{D7B67AC1-9559-4DD7-8B63-E8C2954DE3B0}" type="presParOf" srcId="{56080E43-51E8-42CC-8032-B8BEE48D065E}" destId="{63FC6EC0-2ACF-4EB7-B0B0-A2344B54E7FE}" srcOrd="7" destOrd="0" presId="urn:microsoft.com/office/officeart/2005/8/layout/list1"/>
    <dgm:cxn modelId="{E723104F-B1C3-4861-84C6-51E5174D4CCD}" type="presParOf" srcId="{56080E43-51E8-42CC-8032-B8BEE48D065E}" destId="{BA69643F-8A88-4672-8CD2-C2243674E4D9}" srcOrd="8" destOrd="0" presId="urn:microsoft.com/office/officeart/2005/8/layout/list1"/>
    <dgm:cxn modelId="{B444EE2D-C7BC-4B8A-8365-8794BDDC1DD1}" type="presParOf" srcId="{BA69643F-8A88-4672-8CD2-C2243674E4D9}" destId="{D86878C0-E337-4358-915B-2A70492D0801}" srcOrd="0" destOrd="0" presId="urn:microsoft.com/office/officeart/2005/8/layout/list1"/>
    <dgm:cxn modelId="{72A9D478-6F5B-425A-835B-C58AC40FA9F4}" type="presParOf" srcId="{BA69643F-8A88-4672-8CD2-C2243674E4D9}" destId="{799AD530-B868-4B75-9C0D-4476D0C0C945}" srcOrd="1" destOrd="0" presId="urn:microsoft.com/office/officeart/2005/8/layout/list1"/>
    <dgm:cxn modelId="{20EBE6C5-3E77-41E3-9B3E-C44B691162FF}" type="presParOf" srcId="{56080E43-51E8-42CC-8032-B8BEE48D065E}" destId="{313FD8F3-BD72-4ADA-B358-13EB014A92D8}" srcOrd="9" destOrd="0" presId="urn:microsoft.com/office/officeart/2005/8/layout/list1"/>
    <dgm:cxn modelId="{42598146-3CAE-4F43-9606-1146C9947C87}" type="presParOf" srcId="{56080E43-51E8-42CC-8032-B8BEE48D065E}" destId="{48A89599-0C3C-4887-BFF2-26577C668324}" srcOrd="10" destOrd="0" presId="urn:microsoft.com/office/officeart/2005/8/layout/lis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BBC3E7-175F-44A4-9FF8-5EA1A328FF68}" type="doc">
      <dgm:prSet loTypeId="urn:microsoft.com/office/officeart/2005/8/layout/orgChart1" loCatId="hierarchy" qsTypeId="urn:microsoft.com/office/officeart/2005/8/quickstyle/simple2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AC327C1A-B96B-4A7E-B868-90E2587E1005}">
      <dgm:prSet phldrT="[Текст]" custT="1"/>
      <dgm:spPr/>
      <dgm:t>
        <a:bodyPr/>
        <a:lstStyle/>
        <a:p>
          <a:r>
            <a:rPr lang="ru-RU" sz="1600" b="1" dirty="0" err="1" smtClean="0">
              <a:solidFill>
                <a:schemeClr val="tx1"/>
              </a:solidFill>
            </a:rPr>
            <a:t>Типи</a:t>
          </a:r>
          <a:r>
            <a:rPr lang="ru-RU" sz="1600" b="1" dirty="0" smtClean="0">
              <a:solidFill>
                <a:schemeClr val="tx1"/>
              </a:solidFill>
            </a:rPr>
            <a:t> </a:t>
          </a:r>
          <a:r>
            <a:rPr lang="ru-RU" sz="1600" b="1" dirty="0" err="1" smtClean="0">
              <a:solidFill>
                <a:schemeClr val="tx1"/>
              </a:solidFill>
            </a:rPr>
            <a:t>сайтів</a:t>
          </a:r>
          <a:endParaRPr lang="ru-RU" sz="1600" b="1" dirty="0">
            <a:solidFill>
              <a:schemeClr val="tx1"/>
            </a:solidFill>
          </a:endParaRPr>
        </a:p>
      </dgm:t>
    </dgm:pt>
    <dgm:pt modelId="{50258427-3CFA-46F7-8048-CA761F1B90CC}" type="parTrans" cxnId="{E6269C49-FBC6-447E-806A-AB5262DAABB1}">
      <dgm:prSet/>
      <dgm:spPr/>
      <dgm:t>
        <a:bodyPr/>
        <a:lstStyle/>
        <a:p>
          <a:endParaRPr lang="ru-RU"/>
        </a:p>
      </dgm:t>
    </dgm:pt>
    <dgm:pt modelId="{23F8D34A-1BAD-471B-BB27-9E96F5BCD8A7}" type="sibTrans" cxnId="{E6269C49-FBC6-447E-806A-AB5262DAABB1}">
      <dgm:prSet/>
      <dgm:spPr/>
      <dgm:t>
        <a:bodyPr/>
        <a:lstStyle/>
        <a:p>
          <a:endParaRPr lang="ru-RU"/>
        </a:p>
      </dgm:t>
    </dgm:pt>
    <dgm:pt modelId="{2742F8A0-06F2-4313-9AF0-F249257AE6C5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Інтернет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представництва</a:t>
          </a:r>
          <a:endParaRPr lang="ru-RU" sz="1600" b="1" dirty="0">
            <a:solidFill>
              <a:schemeClr val="tx1"/>
            </a:solidFill>
          </a:endParaRPr>
        </a:p>
      </dgm:t>
    </dgm:pt>
    <dgm:pt modelId="{A37C25D3-A6B7-45B6-8392-BE5A27BD024A}" type="parTrans" cxnId="{0A007CE0-A4C3-4A35-882E-FD3FAD76F860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EB8816AE-7656-4CB4-B539-CC2B1E3FF16A}" type="sibTrans" cxnId="{0A007CE0-A4C3-4A35-882E-FD3FAD76F860}">
      <dgm:prSet/>
      <dgm:spPr/>
      <dgm:t>
        <a:bodyPr/>
        <a:lstStyle/>
        <a:p>
          <a:endParaRPr lang="ru-RU"/>
        </a:p>
      </dgm:t>
    </dgm:pt>
    <dgm:pt modelId="{C8D3EB25-C234-436B-A11A-6943EF25061F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Інформаційн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ресурси</a:t>
          </a:r>
          <a:endParaRPr lang="ru-RU" sz="1600" b="1" dirty="0">
            <a:solidFill>
              <a:schemeClr val="tx1"/>
            </a:solidFill>
          </a:endParaRPr>
        </a:p>
      </dgm:t>
    </dgm:pt>
    <dgm:pt modelId="{4B91D6F8-33AE-467C-A1AD-A4F62655C21E}" type="parTrans" cxnId="{7B1B45AC-AC5A-4492-9190-FB0729A0C468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52C67DE5-3EAA-44F1-B412-22C02A1A3D08}" type="sibTrans" cxnId="{7B1B45AC-AC5A-4492-9190-FB0729A0C468}">
      <dgm:prSet/>
      <dgm:spPr/>
      <dgm:t>
        <a:bodyPr/>
        <a:lstStyle/>
        <a:p>
          <a:endParaRPr lang="ru-RU"/>
        </a:p>
      </dgm:t>
    </dgm:pt>
    <dgm:pt modelId="{80FFB25A-09B4-48B7-908C-EB8CA4794099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Тематичн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сайти</a:t>
          </a:r>
          <a:endParaRPr lang="ru-RU" sz="1600" b="1" dirty="0">
            <a:solidFill>
              <a:schemeClr val="tx1"/>
            </a:solidFill>
          </a:endParaRPr>
        </a:p>
      </dgm:t>
    </dgm:pt>
    <dgm:pt modelId="{75E15CF3-B167-415D-90C6-022A8DB7B393}" type="parTrans" cxnId="{1964CF69-A769-4F09-AF27-1971FE6BF86B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2C1B230C-3C3A-4C7D-9DBF-5EAD5486B297}" type="sibTrans" cxnId="{1964CF69-A769-4F09-AF27-1971FE6BF86B}">
      <dgm:prSet/>
      <dgm:spPr/>
      <dgm:t>
        <a:bodyPr/>
        <a:lstStyle/>
        <a:p>
          <a:endParaRPr lang="ru-RU"/>
        </a:p>
      </dgm:t>
    </dgm:pt>
    <dgm:pt modelId="{404D53D4-0FBE-4A0B-934A-D2D5429C0D40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Інтернет-портали</a:t>
          </a:r>
          <a:endParaRPr lang="ru-RU" sz="1600" b="1" dirty="0">
            <a:solidFill>
              <a:schemeClr val="tx1"/>
            </a:solidFill>
          </a:endParaRPr>
        </a:p>
      </dgm:t>
    </dgm:pt>
    <dgm:pt modelId="{3402CE8A-48EA-4A9E-B9BC-54E51251B6C8}" type="parTrans" cxnId="{EA631916-41AB-48BF-AAA7-4AA4C51E0B99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B65FFE5A-F2CE-40CF-8058-0C6A3CB0AB08}" type="sibTrans" cxnId="{EA631916-41AB-48BF-AAA7-4AA4C51E0B99}">
      <dgm:prSet/>
      <dgm:spPr/>
      <dgm:t>
        <a:bodyPr/>
        <a:lstStyle/>
        <a:p>
          <a:endParaRPr lang="ru-RU"/>
        </a:p>
      </dgm:t>
    </dgm:pt>
    <dgm:pt modelId="{751CB5DB-7AB3-44AA-9C1D-52137FCED3CB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Блоги</a:t>
          </a:r>
          <a:endParaRPr lang="ru-RU" sz="1600" b="1" dirty="0">
            <a:solidFill>
              <a:schemeClr val="tx1"/>
            </a:solidFill>
          </a:endParaRPr>
        </a:p>
      </dgm:t>
    </dgm:pt>
    <dgm:pt modelId="{6BBFD88D-FBEF-4CF9-9172-6013B81C0C6F}" type="parTrans" cxnId="{5EC11DD2-BB12-4B0F-BD1E-D21244847754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ABFBD89D-0A29-47D1-9335-D51EF82B6C0C}" type="sibTrans" cxnId="{5EC11DD2-BB12-4B0F-BD1E-D21244847754}">
      <dgm:prSet/>
      <dgm:spPr/>
      <dgm:t>
        <a:bodyPr/>
        <a:lstStyle/>
        <a:p>
          <a:endParaRPr lang="ru-RU"/>
        </a:p>
      </dgm:t>
    </dgm:pt>
    <dgm:pt modelId="{19CF3D7A-6992-451A-BE77-76A2F67C3881}">
      <dgm:prSet phldrT="[Текст]" custT="1"/>
      <dgm:spPr/>
      <dgm:t>
        <a:bodyPr/>
        <a:lstStyle/>
        <a:p>
          <a:r>
            <a:rPr lang="ru-RU" sz="1600" b="1" i="0" dirty="0" smtClean="0">
              <a:solidFill>
                <a:schemeClr val="tx1"/>
              </a:solidFill>
            </a:rPr>
            <a:t>Каталоги </a:t>
          </a:r>
          <a:r>
            <a:rPr lang="ru-RU" sz="1600" b="1" i="0" dirty="0" err="1" smtClean="0">
              <a:solidFill>
                <a:schemeClr val="tx1"/>
              </a:solidFill>
            </a:rPr>
            <a:t>сайтів</a:t>
          </a:r>
          <a:endParaRPr lang="ru-RU" sz="1600" b="1" dirty="0">
            <a:solidFill>
              <a:schemeClr val="tx1"/>
            </a:solidFill>
          </a:endParaRPr>
        </a:p>
      </dgm:t>
    </dgm:pt>
    <dgm:pt modelId="{1D44C189-94AA-4C45-AB50-FCC0B5E36732}" type="parTrans" cxnId="{5F34805C-08F5-4871-A3D2-BDF46281BD38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3BF94E32-791D-4E18-BE56-87DD97E76FFD}" type="sibTrans" cxnId="{5F34805C-08F5-4871-A3D2-BDF46281BD38}">
      <dgm:prSet/>
      <dgm:spPr/>
      <dgm:t>
        <a:bodyPr/>
        <a:lstStyle/>
        <a:p>
          <a:endParaRPr lang="ru-RU"/>
        </a:p>
      </dgm:t>
    </dgm:pt>
    <dgm:pt modelId="{6458EE75-7AE6-4D48-A69C-1CC9086EBB6C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Пошуков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системи</a:t>
          </a:r>
          <a:endParaRPr lang="ru-RU" sz="1600" b="1" dirty="0">
            <a:solidFill>
              <a:schemeClr val="tx1"/>
            </a:solidFill>
          </a:endParaRPr>
        </a:p>
      </dgm:t>
    </dgm:pt>
    <dgm:pt modelId="{0575173A-E83F-402E-9370-B5A222C18AAE}" type="parTrans" cxnId="{7315A60E-F3AD-4554-BA23-104A13B5EA2A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EB028CF3-2864-4AB7-AD18-F0F76693E2D1}" type="sibTrans" cxnId="{7315A60E-F3AD-4554-BA23-104A13B5EA2A}">
      <dgm:prSet/>
      <dgm:spPr/>
      <dgm:t>
        <a:bodyPr/>
        <a:lstStyle/>
        <a:p>
          <a:endParaRPr lang="ru-RU"/>
        </a:p>
      </dgm:t>
    </dgm:pt>
    <dgm:pt modelId="{7996AFFF-1469-4D3C-BFF3-2AF879BFE8CD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Поштов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системи</a:t>
          </a:r>
          <a:endParaRPr lang="ru-RU" sz="1600" b="1" dirty="0">
            <a:solidFill>
              <a:schemeClr val="tx1"/>
            </a:solidFill>
          </a:endParaRPr>
        </a:p>
      </dgm:t>
    </dgm:pt>
    <dgm:pt modelId="{A862CB36-343B-4E05-AD28-02E74349CA9C}" type="parTrans" cxnId="{B16547C2-3035-41DB-8BE3-5EA6D266ABE0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BF1E838B-4B43-4518-BB34-137E1CCDC8A7}" type="sibTrans" cxnId="{B16547C2-3035-41DB-8BE3-5EA6D266ABE0}">
      <dgm:prSet/>
      <dgm:spPr/>
      <dgm:t>
        <a:bodyPr/>
        <a:lstStyle/>
        <a:p>
          <a:endParaRPr lang="ru-RU"/>
        </a:p>
      </dgm:t>
    </dgm:pt>
    <dgm:pt modelId="{E22EA6E4-0FCC-4F8E-8451-12E31277B6BF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Інтернет-форуми</a:t>
          </a:r>
          <a:endParaRPr lang="ru-RU" sz="1600" b="1" dirty="0">
            <a:solidFill>
              <a:schemeClr val="tx1"/>
            </a:solidFill>
          </a:endParaRPr>
        </a:p>
      </dgm:t>
    </dgm:pt>
    <dgm:pt modelId="{B348C27F-A42A-40FE-8CC6-E83787D33DA8}" type="parTrans" cxnId="{6EA19FB1-258B-4D6E-B2FF-43BEFF994B47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BB66E1AB-8AA4-4E6D-AFAF-776B49C2254F}" type="sibTrans" cxnId="{6EA19FB1-258B-4D6E-B2FF-43BEFF994B47}">
      <dgm:prSet/>
      <dgm:spPr/>
      <dgm:t>
        <a:bodyPr/>
        <a:lstStyle/>
        <a:p>
          <a:endParaRPr lang="ru-RU"/>
        </a:p>
      </dgm:t>
    </dgm:pt>
    <dgm:pt modelId="{347893E0-1B09-45BE-90EC-02D98FE41304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Дошки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оголошень</a:t>
          </a:r>
          <a:endParaRPr lang="ru-RU" sz="1600" b="1" dirty="0">
            <a:solidFill>
              <a:schemeClr val="tx1"/>
            </a:solidFill>
          </a:endParaRPr>
        </a:p>
      </dgm:t>
    </dgm:pt>
    <dgm:pt modelId="{F68D0582-09E2-4D50-A755-411B2AEC2C2E}" type="parTrans" cxnId="{20D4A6AB-DCC2-4858-B6D7-DD80021FDE51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C9E723E6-8850-4A1A-8712-F37700C44C9D}" type="sibTrans" cxnId="{20D4A6AB-DCC2-4858-B6D7-DD80021FDE51}">
      <dgm:prSet/>
      <dgm:spPr/>
      <dgm:t>
        <a:bodyPr/>
        <a:lstStyle/>
        <a:p>
          <a:endParaRPr lang="ru-RU"/>
        </a:p>
      </dgm:t>
    </dgm:pt>
    <dgm:pt modelId="{651B546E-69DF-4A95-8B93-A54A2033E6C6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Соціальн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мережі</a:t>
          </a:r>
          <a:endParaRPr lang="ru-RU" sz="1600" b="1" dirty="0">
            <a:solidFill>
              <a:schemeClr val="tx1"/>
            </a:solidFill>
          </a:endParaRPr>
        </a:p>
      </dgm:t>
    </dgm:pt>
    <dgm:pt modelId="{39EDBD1B-6C12-48FF-821A-2AFFC3F84A31}" type="parTrans" cxnId="{6A809ADB-C045-4974-B082-26B3EDBBD578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0D082840-6FFB-4CDA-8D84-27136C216410}" type="sibTrans" cxnId="{6A809ADB-C045-4974-B082-26B3EDBBD578}">
      <dgm:prSet/>
      <dgm:spPr/>
      <dgm:t>
        <a:bodyPr/>
        <a:lstStyle/>
        <a:p>
          <a:endParaRPr lang="ru-RU"/>
        </a:p>
      </dgm:t>
    </dgm:pt>
    <dgm:pt modelId="{42E52D28-3B65-4014-B6A9-79129902F34B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Сайти-візитки</a:t>
          </a:r>
          <a:endParaRPr lang="ru-RU" sz="1600" b="1" dirty="0">
            <a:solidFill>
              <a:schemeClr val="tx1"/>
            </a:solidFill>
          </a:endParaRPr>
        </a:p>
      </dgm:t>
    </dgm:pt>
    <dgm:pt modelId="{7E1E79E4-798B-434D-8271-BF5435C6ABE0}" type="parTrans" cxnId="{720A3E89-C68E-4B34-8BEE-BE44A85E9DD6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6DB4A03A-F7D3-44C7-B799-D1EF55B3600E}" type="sibTrans" cxnId="{720A3E89-C68E-4B34-8BEE-BE44A85E9DD6}">
      <dgm:prSet/>
      <dgm:spPr/>
      <dgm:t>
        <a:bodyPr/>
        <a:lstStyle/>
        <a:p>
          <a:endParaRPr lang="ru-RU"/>
        </a:p>
      </dgm:t>
    </dgm:pt>
    <dgm:pt modelId="{9BE3CD55-14F3-46E9-9E4A-9F6C61EC3619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Корпоративні</a:t>
          </a:r>
          <a:r>
            <a:rPr lang="ru-RU" sz="1600" b="1" i="0" dirty="0" smtClean="0">
              <a:solidFill>
                <a:schemeClr val="tx1"/>
              </a:solidFill>
            </a:rPr>
            <a:t> </a:t>
          </a:r>
          <a:r>
            <a:rPr lang="ru-RU" sz="1600" b="1" i="0" dirty="0" err="1" smtClean="0">
              <a:solidFill>
                <a:schemeClr val="tx1"/>
              </a:solidFill>
            </a:rPr>
            <a:t>сайти</a:t>
          </a:r>
          <a:endParaRPr lang="ru-RU" sz="1600" b="1" dirty="0">
            <a:solidFill>
              <a:schemeClr val="tx1"/>
            </a:solidFill>
          </a:endParaRPr>
        </a:p>
      </dgm:t>
    </dgm:pt>
    <dgm:pt modelId="{F9630A15-59D2-4BF5-BFF9-DE65F169656D}" type="parTrans" cxnId="{2F9B1DC4-9AD1-45A4-A3CE-181847BE4491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4CADBD8B-33AB-4884-A20B-8B1F1462EFC1}" type="sibTrans" cxnId="{2F9B1DC4-9AD1-45A4-A3CE-181847BE4491}">
      <dgm:prSet/>
      <dgm:spPr/>
      <dgm:t>
        <a:bodyPr/>
        <a:lstStyle/>
        <a:p>
          <a:endParaRPr lang="ru-RU"/>
        </a:p>
      </dgm:t>
    </dgm:pt>
    <dgm:pt modelId="{A52ACAB8-8762-4B8D-AFDC-2510B8975E00}">
      <dgm:prSet phldrT="[Текст]" custT="1"/>
      <dgm:spPr/>
      <dgm:t>
        <a:bodyPr/>
        <a:lstStyle/>
        <a:p>
          <a:r>
            <a:rPr lang="uk-UA" sz="1600" b="1" dirty="0" smtClean="0">
              <a:solidFill>
                <a:schemeClr val="tx1"/>
              </a:solidFill>
            </a:rPr>
            <a:t>Інтернет вітрини</a:t>
          </a:r>
          <a:endParaRPr lang="ru-RU" sz="1600" b="1" dirty="0">
            <a:solidFill>
              <a:schemeClr val="tx1"/>
            </a:solidFill>
          </a:endParaRPr>
        </a:p>
      </dgm:t>
    </dgm:pt>
    <dgm:pt modelId="{CAAC6FFD-27DF-452D-A21F-534E178A4C21}" type="parTrans" cxnId="{F0EB3CDB-8C3C-4344-96CC-7FA375C97BEF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41667157-CB0A-4259-9D87-6FA763F155B8}" type="sibTrans" cxnId="{F0EB3CDB-8C3C-4344-96CC-7FA375C97BEF}">
      <dgm:prSet/>
      <dgm:spPr/>
      <dgm:t>
        <a:bodyPr/>
        <a:lstStyle/>
        <a:p>
          <a:endParaRPr lang="ru-RU"/>
        </a:p>
      </dgm:t>
    </dgm:pt>
    <dgm:pt modelId="{99049C2A-CFB1-4CF4-A513-E7D7C0F51272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Інтернет-магазини</a:t>
          </a:r>
          <a:endParaRPr lang="ru-RU" sz="1600" b="1" dirty="0">
            <a:solidFill>
              <a:schemeClr val="tx1"/>
            </a:solidFill>
          </a:endParaRPr>
        </a:p>
      </dgm:t>
    </dgm:pt>
    <dgm:pt modelId="{2671FA13-46D8-4DCB-AB38-D2BAA6060E6B}" type="parTrans" cxnId="{F05B0C97-B403-425C-8B06-3F87E96C67C0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5CD77CB0-4505-49D7-B255-629C0361217C}" type="sibTrans" cxnId="{F05B0C97-B403-425C-8B06-3F87E96C67C0}">
      <dgm:prSet/>
      <dgm:spPr/>
      <dgm:t>
        <a:bodyPr/>
        <a:lstStyle/>
        <a:p>
          <a:endParaRPr lang="ru-RU"/>
        </a:p>
      </dgm:t>
    </dgm:pt>
    <dgm:pt modelId="{2B313922-1108-4D9D-9EBA-CC2C161407F7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Промо-сайти</a:t>
          </a:r>
          <a:endParaRPr lang="ru-RU" sz="1600" b="1" dirty="0">
            <a:solidFill>
              <a:schemeClr val="tx1"/>
            </a:solidFill>
          </a:endParaRPr>
        </a:p>
      </dgm:t>
    </dgm:pt>
    <dgm:pt modelId="{9925B761-C2A7-4126-9555-A1A94FBBEC4A}" type="parTrans" cxnId="{63DDD907-51BC-4ED5-B729-F3C9E692B532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86B703B3-2E39-45CF-B592-87B611749F46}" type="sibTrans" cxnId="{63DDD907-51BC-4ED5-B729-F3C9E692B532}">
      <dgm:prSet/>
      <dgm:spPr/>
      <dgm:t>
        <a:bodyPr/>
        <a:lstStyle/>
        <a:p>
          <a:endParaRPr lang="ru-RU"/>
        </a:p>
      </dgm:t>
    </dgm:pt>
    <dgm:pt modelId="{FB76CB6D-A726-432D-823A-5FB242AA0D8B}">
      <dgm:prSet phldrT="[Текст]" custT="1"/>
      <dgm:spPr/>
      <dgm:t>
        <a:bodyPr/>
        <a:lstStyle/>
        <a:p>
          <a:r>
            <a:rPr lang="ru-RU" sz="1600" b="1" i="0" dirty="0" err="1" smtClean="0">
              <a:solidFill>
                <a:schemeClr val="tx1"/>
              </a:solidFill>
            </a:rPr>
            <a:t>Веб-сервіси</a:t>
          </a:r>
          <a:endParaRPr lang="ru-RU" sz="1600" b="1" dirty="0">
            <a:solidFill>
              <a:schemeClr val="tx1"/>
            </a:solidFill>
          </a:endParaRPr>
        </a:p>
      </dgm:t>
    </dgm:pt>
    <dgm:pt modelId="{66135E66-25B1-42E7-AA47-13E2CC09D44B}" type="sibTrans" cxnId="{5F5D1F8A-762B-4842-933E-EB892AE5B9A0}">
      <dgm:prSet/>
      <dgm:spPr/>
      <dgm:t>
        <a:bodyPr/>
        <a:lstStyle/>
        <a:p>
          <a:endParaRPr lang="ru-RU"/>
        </a:p>
      </dgm:t>
    </dgm:pt>
    <dgm:pt modelId="{0ED83FF8-1CBD-4A21-84AC-8B978D3A5C69}" type="parTrans" cxnId="{5F5D1F8A-762B-4842-933E-EB892AE5B9A0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F455EAEA-D336-4F4A-8020-4D0AD7032E1A}">
      <dgm:prSet phldrT="[Текст]" custT="1"/>
      <dgm:spPr/>
      <dgm:t>
        <a:bodyPr/>
        <a:lstStyle/>
        <a:p>
          <a:r>
            <a:rPr lang="ru-RU" sz="1500" b="1" i="0" dirty="0" smtClean="0">
              <a:solidFill>
                <a:schemeClr val="tx1"/>
              </a:solidFill>
            </a:rPr>
            <a:t>Фото-, </a:t>
          </a:r>
          <a:r>
            <a:rPr lang="ru-RU" sz="1500" b="1" i="0" dirty="0" err="1" smtClean="0">
              <a:solidFill>
                <a:schemeClr val="tx1"/>
              </a:solidFill>
            </a:rPr>
            <a:t>аудіо</a:t>
          </a:r>
          <a:r>
            <a:rPr lang="ru-RU" sz="1500" b="1" i="0" dirty="0" smtClean="0">
              <a:solidFill>
                <a:schemeClr val="tx1"/>
              </a:solidFill>
            </a:rPr>
            <a:t>-,</a:t>
          </a:r>
          <a:r>
            <a:rPr lang="ru-RU" sz="1500" b="1" dirty="0" smtClean="0">
              <a:solidFill>
                <a:schemeClr val="tx1"/>
              </a:solidFill>
            </a:rPr>
            <a:t/>
          </a:r>
          <a:br>
            <a:rPr lang="ru-RU" sz="1500" b="1" dirty="0" smtClean="0">
              <a:solidFill>
                <a:schemeClr val="tx1"/>
              </a:solidFill>
            </a:rPr>
          </a:br>
          <a:r>
            <a:rPr lang="ru-RU" sz="1500" b="1" i="0" dirty="0" err="1" smtClean="0">
              <a:solidFill>
                <a:schemeClr val="tx1"/>
              </a:solidFill>
            </a:rPr>
            <a:t>відеохостинги</a:t>
          </a:r>
          <a:endParaRPr lang="ru-RU" sz="1500" b="1" dirty="0">
            <a:solidFill>
              <a:schemeClr val="tx1"/>
            </a:solidFill>
          </a:endParaRPr>
        </a:p>
      </dgm:t>
    </dgm:pt>
    <dgm:pt modelId="{180A1B2F-07B0-4B41-ADFE-355767F913A4}" type="parTrans" cxnId="{68893FD6-3111-4C32-9914-27E9B330F949}">
      <dgm:prSet/>
      <dgm:spPr/>
      <dgm:t>
        <a:bodyPr/>
        <a:lstStyle/>
        <a:p>
          <a:endParaRPr lang="ru-RU" sz="1600" b="1">
            <a:solidFill>
              <a:schemeClr val="tx1"/>
            </a:solidFill>
          </a:endParaRPr>
        </a:p>
      </dgm:t>
    </dgm:pt>
    <dgm:pt modelId="{94980EFA-C8BA-4FE6-9529-81090C32A7A8}" type="sibTrans" cxnId="{68893FD6-3111-4C32-9914-27E9B330F949}">
      <dgm:prSet/>
      <dgm:spPr/>
      <dgm:t>
        <a:bodyPr/>
        <a:lstStyle/>
        <a:p>
          <a:endParaRPr lang="ru-RU"/>
        </a:p>
      </dgm:t>
    </dgm:pt>
    <dgm:pt modelId="{7C6E67D4-6AC1-4E43-9301-0D35A77CF747}" type="pres">
      <dgm:prSet presAssocID="{4CBBC3E7-175F-44A4-9FF8-5EA1A328FF6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4C09711-C89D-4CB7-A46A-3422D68D90DB}" type="pres">
      <dgm:prSet presAssocID="{AC327C1A-B96B-4A7E-B868-90E2587E1005}" presName="hierRoot1" presStyleCnt="0">
        <dgm:presLayoutVars>
          <dgm:hierBranch val="init"/>
        </dgm:presLayoutVars>
      </dgm:prSet>
      <dgm:spPr/>
    </dgm:pt>
    <dgm:pt modelId="{8E8D4FBB-8EF3-46AA-BF53-8A5811A7012E}" type="pres">
      <dgm:prSet presAssocID="{AC327C1A-B96B-4A7E-B868-90E2587E1005}" presName="rootComposite1" presStyleCnt="0"/>
      <dgm:spPr/>
    </dgm:pt>
    <dgm:pt modelId="{32731F0C-E48A-443E-A7DD-3A36340093DB}" type="pres">
      <dgm:prSet presAssocID="{AC327C1A-B96B-4A7E-B868-90E2587E1005}" presName="rootText1" presStyleLbl="node0" presStyleIdx="0" presStyleCnt="1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F86EF8F-0E9C-4CB8-AF4F-8023A2AD3B63}" type="pres">
      <dgm:prSet presAssocID="{AC327C1A-B96B-4A7E-B868-90E2587E1005}" presName="rootConnector1" presStyleLbl="node1" presStyleIdx="0" presStyleCnt="0"/>
      <dgm:spPr/>
      <dgm:t>
        <a:bodyPr/>
        <a:lstStyle/>
        <a:p>
          <a:endParaRPr lang="ru-RU"/>
        </a:p>
      </dgm:t>
    </dgm:pt>
    <dgm:pt modelId="{A21D9CAB-ABAE-42B6-BA1C-56F97FE2C9AD}" type="pres">
      <dgm:prSet presAssocID="{AC327C1A-B96B-4A7E-B868-90E2587E1005}" presName="hierChild2" presStyleCnt="0"/>
      <dgm:spPr/>
    </dgm:pt>
    <dgm:pt modelId="{3883BA9B-597E-4F44-8EFC-AA13AF66BEE7}" type="pres">
      <dgm:prSet presAssocID="{4B91D6F8-33AE-467C-A1AD-A4F62655C21E}" presName="Name37" presStyleLbl="parChTrans1D2" presStyleIdx="0" presStyleCnt="3" custSzX="3685860"/>
      <dgm:spPr/>
      <dgm:t>
        <a:bodyPr/>
        <a:lstStyle/>
        <a:p>
          <a:endParaRPr lang="ru-RU"/>
        </a:p>
      </dgm:t>
    </dgm:pt>
    <dgm:pt modelId="{1E3B6881-A474-40F7-8102-34200022B165}" type="pres">
      <dgm:prSet presAssocID="{C8D3EB25-C234-436B-A11A-6943EF25061F}" presName="hierRoot2" presStyleCnt="0">
        <dgm:presLayoutVars>
          <dgm:hierBranch val="init"/>
        </dgm:presLayoutVars>
      </dgm:prSet>
      <dgm:spPr/>
    </dgm:pt>
    <dgm:pt modelId="{463D559B-63E0-4B6A-9A77-2100F688CFCA}" type="pres">
      <dgm:prSet presAssocID="{C8D3EB25-C234-436B-A11A-6943EF25061F}" presName="rootComposite" presStyleCnt="0"/>
      <dgm:spPr/>
    </dgm:pt>
    <dgm:pt modelId="{B978CBA1-581A-49DC-B461-5A968EB6F57F}" type="pres">
      <dgm:prSet presAssocID="{C8D3EB25-C234-436B-A11A-6943EF25061F}" presName="rootText" presStyleLbl="node2" presStyleIdx="0" presStyleCnt="3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197C122-9D7D-4713-BCAA-58A3D2892699}" type="pres">
      <dgm:prSet presAssocID="{C8D3EB25-C234-436B-A11A-6943EF25061F}" presName="rootConnector" presStyleLbl="node2" presStyleIdx="0" presStyleCnt="3"/>
      <dgm:spPr/>
      <dgm:t>
        <a:bodyPr/>
        <a:lstStyle/>
        <a:p>
          <a:endParaRPr lang="ru-RU"/>
        </a:p>
      </dgm:t>
    </dgm:pt>
    <dgm:pt modelId="{7AA98BD9-F19F-4BB9-99DC-C7DF6D5BDBC7}" type="pres">
      <dgm:prSet presAssocID="{C8D3EB25-C234-436B-A11A-6943EF25061F}" presName="hierChild4" presStyleCnt="0"/>
      <dgm:spPr/>
    </dgm:pt>
    <dgm:pt modelId="{988C5E86-FE83-4260-B58A-164DC6334D47}" type="pres">
      <dgm:prSet presAssocID="{75E15CF3-B167-415D-90C6-022A8DB7B393}" presName="Name37" presStyleLbl="parChTrans1D3" presStyleIdx="0" presStyleCnt="15" custSzX="456924"/>
      <dgm:spPr/>
      <dgm:t>
        <a:bodyPr/>
        <a:lstStyle/>
        <a:p>
          <a:endParaRPr lang="ru-RU"/>
        </a:p>
      </dgm:t>
    </dgm:pt>
    <dgm:pt modelId="{31BE7539-DB96-4681-8FC4-B9DA00BFB171}" type="pres">
      <dgm:prSet presAssocID="{80FFB25A-09B4-48B7-908C-EB8CA4794099}" presName="hierRoot2" presStyleCnt="0">
        <dgm:presLayoutVars>
          <dgm:hierBranch val="init"/>
        </dgm:presLayoutVars>
      </dgm:prSet>
      <dgm:spPr/>
    </dgm:pt>
    <dgm:pt modelId="{0E82EE34-6571-492E-83BE-D9B4540DD3F7}" type="pres">
      <dgm:prSet presAssocID="{80FFB25A-09B4-48B7-908C-EB8CA4794099}" presName="rootComposite" presStyleCnt="0"/>
      <dgm:spPr/>
    </dgm:pt>
    <dgm:pt modelId="{61B45239-9B8C-4C7B-8811-E3B3A4529340}" type="pres">
      <dgm:prSet presAssocID="{80FFB25A-09B4-48B7-908C-EB8CA4794099}" presName="rootText" presStyleLbl="node3" presStyleIdx="0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5A018B9-3EF1-4307-918C-A12B8A75DE42}" type="pres">
      <dgm:prSet presAssocID="{80FFB25A-09B4-48B7-908C-EB8CA4794099}" presName="rootConnector" presStyleLbl="node3" presStyleIdx="0" presStyleCnt="15"/>
      <dgm:spPr/>
      <dgm:t>
        <a:bodyPr/>
        <a:lstStyle/>
        <a:p>
          <a:endParaRPr lang="ru-RU"/>
        </a:p>
      </dgm:t>
    </dgm:pt>
    <dgm:pt modelId="{EE0A0BCC-8AFE-4B2A-B36B-F2CEDA2F5E81}" type="pres">
      <dgm:prSet presAssocID="{80FFB25A-09B4-48B7-908C-EB8CA4794099}" presName="hierChild4" presStyleCnt="0"/>
      <dgm:spPr/>
    </dgm:pt>
    <dgm:pt modelId="{757D70EC-6EAC-41CC-835B-6777D6E19AD1}" type="pres">
      <dgm:prSet presAssocID="{80FFB25A-09B4-48B7-908C-EB8CA4794099}" presName="hierChild5" presStyleCnt="0"/>
      <dgm:spPr/>
    </dgm:pt>
    <dgm:pt modelId="{3C72897F-5BD9-4130-BF92-DF7528B917CB}" type="pres">
      <dgm:prSet presAssocID="{3402CE8A-48EA-4A9E-B9BC-54E51251B6C8}" presName="Name37" presStyleLbl="parChTrans1D3" presStyleIdx="1" presStyleCnt="15" custSzX="456924"/>
      <dgm:spPr/>
      <dgm:t>
        <a:bodyPr/>
        <a:lstStyle/>
        <a:p>
          <a:endParaRPr lang="ru-RU"/>
        </a:p>
      </dgm:t>
    </dgm:pt>
    <dgm:pt modelId="{CC95C5F4-1E6A-4F8F-9A5E-9664F0BBABBC}" type="pres">
      <dgm:prSet presAssocID="{404D53D4-0FBE-4A0B-934A-D2D5429C0D40}" presName="hierRoot2" presStyleCnt="0">
        <dgm:presLayoutVars>
          <dgm:hierBranch val="init"/>
        </dgm:presLayoutVars>
      </dgm:prSet>
      <dgm:spPr/>
    </dgm:pt>
    <dgm:pt modelId="{0CF74209-6543-42CF-A78B-71F914FAF4C6}" type="pres">
      <dgm:prSet presAssocID="{404D53D4-0FBE-4A0B-934A-D2D5429C0D40}" presName="rootComposite" presStyleCnt="0"/>
      <dgm:spPr/>
    </dgm:pt>
    <dgm:pt modelId="{1FFED18D-5B81-4776-8B5D-34352D9ECF43}" type="pres">
      <dgm:prSet presAssocID="{404D53D4-0FBE-4A0B-934A-D2D5429C0D40}" presName="rootText" presStyleLbl="node3" presStyleIdx="1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EB260A4-FE2E-4169-845E-55B49ACABD06}" type="pres">
      <dgm:prSet presAssocID="{404D53D4-0FBE-4A0B-934A-D2D5429C0D40}" presName="rootConnector" presStyleLbl="node3" presStyleIdx="1" presStyleCnt="15"/>
      <dgm:spPr/>
      <dgm:t>
        <a:bodyPr/>
        <a:lstStyle/>
        <a:p>
          <a:endParaRPr lang="ru-RU"/>
        </a:p>
      </dgm:t>
    </dgm:pt>
    <dgm:pt modelId="{7EBE1C86-8298-40AC-B994-D13FF8EAEFA6}" type="pres">
      <dgm:prSet presAssocID="{404D53D4-0FBE-4A0B-934A-D2D5429C0D40}" presName="hierChild4" presStyleCnt="0"/>
      <dgm:spPr/>
    </dgm:pt>
    <dgm:pt modelId="{EE1ABB6C-DFC2-46FE-A628-5DD6072295C2}" type="pres">
      <dgm:prSet presAssocID="{404D53D4-0FBE-4A0B-934A-D2D5429C0D40}" presName="hierChild5" presStyleCnt="0"/>
      <dgm:spPr/>
    </dgm:pt>
    <dgm:pt modelId="{2A398801-E279-44BB-A27F-6D37AD7735DF}" type="pres">
      <dgm:prSet presAssocID="{6BBFD88D-FBEF-4CF9-9172-6013B81C0C6F}" presName="Name37" presStyleLbl="parChTrans1D3" presStyleIdx="2" presStyleCnt="15" custSzX="456924"/>
      <dgm:spPr/>
      <dgm:t>
        <a:bodyPr/>
        <a:lstStyle/>
        <a:p>
          <a:endParaRPr lang="ru-RU"/>
        </a:p>
      </dgm:t>
    </dgm:pt>
    <dgm:pt modelId="{025ECBCB-1231-4438-BE70-5F83C6FE4FB0}" type="pres">
      <dgm:prSet presAssocID="{751CB5DB-7AB3-44AA-9C1D-52137FCED3CB}" presName="hierRoot2" presStyleCnt="0">
        <dgm:presLayoutVars>
          <dgm:hierBranch val="init"/>
        </dgm:presLayoutVars>
      </dgm:prSet>
      <dgm:spPr/>
    </dgm:pt>
    <dgm:pt modelId="{EF9E5EB5-85A6-413B-9D1C-FFCE65242CAC}" type="pres">
      <dgm:prSet presAssocID="{751CB5DB-7AB3-44AA-9C1D-52137FCED3CB}" presName="rootComposite" presStyleCnt="0"/>
      <dgm:spPr/>
    </dgm:pt>
    <dgm:pt modelId="{8F2AF958-9140-4320-A824-64026F258D6A}" type="pres">
      <dgm:prSet presAssocID="{751CB5DB-7AB3-44AA-9C1D-52137FCED3CB}" presName="rootText" presStyleLbl="node3" presStyleIdx="2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78915EC-CA8E-482C-AFBC-9074B9E2CA31}" type="pres">
      <dgm:prSet presAssocID="{751CB5DB-7AB3-44AA-9C1D-52137FCED3CB}" presName="rootConnector" presStyleLbl="node3" presStyleIdx="2" presStyleCnt="15"/>
      <dgm:spPr/>
      <dgm:t>
        <a:bodyPr/>
        <a:lstStyle/>
        <a:p>
          <a:endParaRPr lang="ru-RU"/>
        </a:p>
      </dgm:t>
    </dgm:pt>
    <dgm:pt modelId="{4FE78952-0A0A-4499-B0F6-7CD9B40CB8F5}" type="pres">
      <dgm:prSet presAssocID="{751CB5DB-7AB3-44AA-9C1D-52137FCED3CB}" presName="hierChild4" presStyleCnt="0"/>
      <dgm:spPr/>
    </dgm:pt>
    <dgm:pt modelId="{D5913910-433A-4AFF-9186-526D53EAF18F}" type="pres">
      <dgm:prSet presAssocID="{751CB5DB-7AB3-44AA-9C1D-52137FCED3CB}" presName="hierChild5" presStyleCnt="0"/>
      <dgm:spPr/>
    </dgm:pt>
    <dgm:pt modelId="{BAEF9329-46EC-4952-B04D-97AF7F9C31D1}" type="pres">
      <dgm:prSet presAssocID="{1D44C189-94AA-4C45-AB50-FCC0B5E36732}" presName="Name37" presStyleLbl="parChTrans1D3" presStyleIdx="3" presStyleCnt="15" custSzX="456924"/>
      <dgm:spPr/>
      <dgm:t>
        <a:bodyPr/>
        <a:lstStyle/>
        <a:p>
          <a:endParaRPr lang="ru-RU"/>
        </a:p>
      </dgm:t>
    </dgm:pt>
    <dgm:pt modelId="{A16625BA-10E8-42D4-8916-9FDE1B6F0CDB}" type="pres">
      <dgm:prSet presAssocID="{19CF3D7A-6992-451A-BE77-76A2F67C3881}" presName="hierRoot2" presStyleCnt="0">
        <dgm:presLayoutVars>
          <dgm:hierBranch val="init"/>
        </dgm:presLayoutVars>
      </dgm:prSet>
      <dgm:spPr/>
    </dgm:pt>
    <dgm:pt modelId="{FBEB854B-52BA-4E0C-9916-2D3410737388}" type="pres">
      <dgm:prSet presAssocID="{19CF3D7A-6992-451A-BE77-76A2F67C3881}" presName="rootComposite" presStyleCnt="0"/>
      <dgm:spPr/>
    </dgm:pt>
    <dgm:pt modelId="{FCCED5AC-901C-468E-BE5E-51EAE1D16113}" type="pres">
      <dgm:prSet presAssocID="{19CF3D7A-6992-451A-BE77-76A2F67C3881}" presName="rootText" presStyleLbl="node3" presStyleIdx="3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B423975-2097-4774-97EF-9D775A0C2CA2}" type="pres">
      <dgm:prSet presAssocID="{19CF3D7A-6992-451A-BE77-76A2F67C3881}" presName="rootConnector" presStyleLbl="node3" presStyleIdx="3" presStyleCnt="15"/>
      <dgm:spPr/>
      <dgm:t>
        <a:bodyPr/>
        <a:lstStyle/>
        <a:p>
          <a:endParaRPr lang="ru-RU"/>
        </a:p>
      </dgm:t>
    </dgm:pt>
    <dgm:pt modelId="{0BA9C501-FA53-4488-9A9C-6E45678A9BD6}" type="pres">
      <dgm:prSet presAssocID="{19CF3D7A-6992-451A-BE77-76A2F67C3881}" presName="hierChild4" presStyleCnt="0"/>
      <dgm:spPr/>
    </dgm:pt>
    <dgm:pt modelId="{090CE579-6577-4220-8C13-1192B4496894}" type="pres">
      <dgm:prSet presAssocID="{19CF3D7A-6992-451A-BE77-76A2F67C3881}" presName="hierChild5" presStyleCnt="0"/>
      <dgm:spPr/>
    </dgm:pt>
    <dgm:pt modelId="{77595EB0-5C3E-4083-804F-81CB7C26A7F1}" type="pres">
      <dgm:prSet presAssocID="{C8D3EB25-C234-436B-A11A-6943EF25061F}" presName="hierChild5" presStyleCnt="0"/>
      <dgm:spPr/>
    </dgm:pt>
    <dgm:pt modelId="{5CD51581-9CD5-4639-8F35-12F8BC45E168}" type="pres">
      <dgm:prSet presAssocID="{0ED83FF8-1CBD-4A21-84AC-8B978D3A5C69}" presName="Name37" presStyleLbl="parChTrans1D2" presStyleIdx="1" presStyleCnt="3" custSzX="354588"/>
      <dgm:spPr/>
      <dgm:t>
        <a:bodyPr/>
        <a:lstStyle/>
        <a:p>
          <a:endParaRPr lang="ru-RU"/>
        </a:p>
      </dgm:t>
    </dgm:pt>
    <dgm:pt modelId="{E0001A89-C05A-477F-8250-68988BB0415F}" type="pres">
      <dgm:prSet presAssocID="{FB76CB6D-A726-432D-823A-5FB242AA0D8B}" presName="hierRoot2" presStyleCnt="0">
        <dgm:presLayoutVars>
          <dgm:hierBranch val="init"/>
        </dgm:presLayoutVars>
      </dgm:prSet>
      <dgm:spPr/>
    </dgm:pt>
    <dgm:pt modelId="{34FA4E00-4FD7-4D6A-B127-E2100E31CF97}" type="pres">
      <dgm:prSet presAssocID="{FB76CB6D-A726-432D-823A-5FB242AA0D8B}" presName="rootComposite" presStyleCnt="0"/>
      <dgm:spPr/>
    </dgm:pt>
    <dgm:pt modelId="{08E2F819-04B3-48B9-B3D3-77E01ECDA6CF}" type="pres">
      <dgm:prSet presAssocID="{FB76CB6D-A726-432D-823A-5FB242AA0D8B}" presName="rootText" presStyleLbl="node2" presStyleIdx="1" presStyleCnt="3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047C744-94E9-44BA-B811-F730202A24FC}" type="pres">
      <dgm:prSet presAssocID="{FB76CB6D-A726-432D-823A-5FB242AA0D8B}" presName="rootConnector" presStyleLbl="node2" presStyleIdx="1" presStyleCnt="3"/>
      <dgm:spPr/>
      <dgm:t>
        <a:bodyPr/>
        <a:lstStyle/>
        <a:p>
          <a:endParaRPr lang="ru-RU"/>
        </a:p>
      </dgm:t>
    </dgm:pt>
    <dgm:pt modelId="{910C3571-BE0D-4CB3-AC93-9EE321B2A0D7}" type="pres">
      <dgm:prSet presAssocID="{FB76CB6D-A726-432D-823A-5FB242AA0D8B}" presName="hierChild4" presStyleCnt="0"/>
      <dgm:spPr/>
    </dgm:pt>
    <dgm:pt modelId="{E82045EE-7760-48C9-A318-96E632D7EFE5}" type="pres">
      <dgm:prSet presAssocID="{0575173A-E83F-402E-9370-B5A222C18AAE}" presName="Name37" presStyleLbl="parChTrans1D3" presStyleIdx="4" presStyleCnt="15" custSzX="456924"/>
      <dgm:spPr/>
      <dgm:t>
        <a:bodyPr/>
        <a:lstStyle/>
        <a:p>
          <a:endParaRPr lang="ru-RU"/>
        </a:p>
      </dgm:t>
    </dgm:pt>
    <dgm:pt modelId="{AB3EAE37-7D1B-4631-8945-83B3EC5C5F0B}" type="pres">
      <dgm:prSet presAssocID="{6458EE75-7AE6-4D48-A69C-1CC9086EBB6C}" presName="hierRoot2" presStyleCnt="0">
        <dgm:presLayoutVars>
          <dgm:hierBranch val="init"/>
        </dgm:presLayoutVars>
      </dgm:prSet>
      <dgm:spPr/>
    </dgm:pt>
    <dgm:pt modelId="{07481ECB-3FC6-4C2E-BAD6-9E63E4CCDD23}" type="pres">
      <dgm:prSet presAssocID="{6458EE75-7AE6-4D48-A69C-1CC9086EBB6C}" presName="rootComposite" presStyleCnt="0"/>
      <dgm:spPr/>
    </dgm:pt>
    <dgm:pt modelId="{14584F89-E045-4C25-B31B-87A29C7D412D}" type="pres">
      <dgm:prSet presAssocID="{6458EE75-7AE6-4D48-A69C-1CC9086EBB6C}" presName="rootText" presStyleLbl="node3" presStyleIdx="4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4F40039-EB57-41A1-9CEC-7DC50D7A275A}" type="pres">
      <dgm:prSet presAssocID="{6458EE75-7AE6-4D48-A69C-1CC9086EBB6C}" presName="rootConnector" presStyleLbl="node3" presStyleIdx="4" presStyleCnt="15"/>
      <dgm:spPr/>
      <dgm:t>
        <a:bodyPr/>
        <a:lstStyle/>
        <a:p>
          <a:endParaRPr lang="ru-RU"/>
        </a:p>
      </dgm:t>
    </dgm:pt>
    <dgm:pt modelId="{BC1EECCC-F5B4-40C6-AFCF-7A52D867FFFB}" type="pres">
      <dgm:prSet presAssocID="{6458EE75-7AE6-4D48-A69C-1CC9086EBB6C}" presName="hierChild4" presStyleCnt="0"/>
      <dgm:spPr/>
    </dgm:pt>
    <dgm:pt modelId="{0D20F738-212B-4F93-B895-2144B28B612E}" type="pres">
      <dgm:prSet presAssocID="{6458EE75-7AE6-4D48-A69C-1CC9086EBB6C}" presName="hierChild5" presStyleCnt="0"/>
      <dgm:spPr/>
    </dgm:pt>
    <dgm:pt modelId="{78260B77-E011-4DCA-A254-A91C9B463480}" type="pres">
      <dgm:prSet presAssocID="{A862CB36-343B-4E05-AD28-02E74349CA9C}" presName="Name37" presStyleLbl="parChTrans1D3" presStyleIdx="5" presStyleCnt="15" custSzX="456924"/>
      <dgm:spPr/>
      <dgm:t>
        <a:bodyPr/>
        <a:lstStyle/>
        <a:p>
          <a:endParaRPr lang="ru-RU"/>
        </a:p>
      </dgm:t>
    </dgm:pt>
    <dgm:pt modelId="{56F861D4-CC53-4970-89E7-9469B3D68B5E}" type="pres">
      <dgm:prSet presAssocID="{7996AFFF-1469-4D3C-BFF3-2AF879BFE8CD}" presName="hierRoot2" presStyleCnt="0">
        <dgm:presLayoutVars>
          <dgm:hierBranch val="init"/>
        </dgm:presLayoutVars>
      </dgm:prSet>
      <dgm:spPr/>
    </dgm:pt>
    <dgm:pt modelId="{EAC99EC9-9DEF-421E-B1B8-AC3A20043D7E}" type="pres">
      <dgm:prSet presAssocID="{7996AFFF-1469-4D3C-BFF3-2AF879BFE8CD}" presName="rootComposite" presStyleCnt="0"/>
      <dgm:spPr/>
    </dgm:pt>
    <dgm:pt modelId="{5517D4BB-07A9-4563-90A8-388EEA13409F}" type="pres">
      <dgm:prSet presAssocID="{7996AFFF-1469-4D3C-BFF3-2AF879BFE8CD}" presName="rootText" presStyleLbl="node3" presStyleIdx="5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845083F-1A56-4120-BB9B-EAC98F69AFD0}" type="pres">
      <dgm:prSet presAssocID="{7996AFFF-1469-4D3C-BFF3-2AF879BFE8CD}" presName="rootConnector" presStyleLbl="node3" presStyleIdx="5" presStyleCnt="15"/>
      <dgm:spPr/>
      <dgm:t>
        <a:bodyPr/>
        <a:lstStyle/>
        <a:p>
          <a:endParaRPr lang="ru-RU"/>
        </a:p>
      </dgm:t>
    </dgm:pt>
    <dgm:pt modelId="{6E358EFB-E9B5-4CBD-BDC9-81964E881A40}" type="pres">
      <dgm:prSet presAssocID="{7996AFFF-1469-4D3C-BFF3-2AF879BFE8CD}" presName="hierChild4" presStyleCnt="0"/>
      <dgm:spPr/>
    </dgm:pt>
    <dgm:pt modelId="{DC5694A1-AAE7-4B65-A2FD-3DAB1F63EE71}" type="pres">
      <dgm:prSet presAssocID="{7996AFFF-1469-4D3C-BFF3-2AF879BFE8CD}" presName="hierChild5" presStyleCnt="0"/>
      <dgm:spPr/>
    </dgm:pt>
    <dgm:pt modelId="{91755047-2F66-4C40-BCF6-AC51A4C3889E}" type="pres">
      <dgm:prSet presAssocID="{B348C27F-A42A-40FE-8CC6-E83787D33DA8}" presName="Name37" presStyleLbl="parChTrans1D3" presStyleIdx="6" presStyleCnt="15" custSzX="456924"/>
      <dgm:spPr/>
      <dgm:t>
        <a:bodyPr/>
        <a:lstStyle/>
        <a:p>
          <a:endParaRPr lang="ru-RU"/>
        </a:p>
      </dgm:t>
    </dgm:pt>
    <dgm:pt modelId="{B6D98B0A-AD83-4B59-B5FD-E0EDB2EEDF1E}" type="pres">
      <dgm:prSet presAssocID="{E22EA6E4-0FCC-4F8E-8451-12E31277B6BF}" presName="hierRoot2" presStyleCnt="0">
        <dgm:presLayoutVars>
          <dgm:hierBranch val="init"/>
        </dgm:presLayoutVars>
      </dgm:prSet>
      <dgm:spPr/>
    </dgm:pt>
    <dgm:pt modelId="{4E402DB0-4789-4BEA-93D5-3074D9289A00}" type="pres">
      <dgm:prSet presAssocID="{E22EA6E4-0FCC-4F8E-8451-12E31277B6BF}" presName="rootComposite" presStyleCnt="0"/>
      <dgm:spPr/>
    </dgm:pt>
    <dgm:pt modelId="{711B3EDA-6A65-4D7E-9A7E-B9B6E966F2DD}" type="pres">
      <dgm:prSet presAssocID="{E22EA6E4-0FCC-4F8E-8451-12E31277B6BF}" presName="rootText" presStyleLbl="node3" presStyleIdx="6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A7FD5D8-99F3-4924-9986-A495F8BD09AE}" type="pres">
      <dgm:prSet presAssocID="{E22EA6E4-0FCC-4F8E-8451-12E31277B6BF}" presName="rootConnector" presStyleLbl="node3" presStyleIdx="6" presStyleCnt="15"/>
      <dgm:spPr/>
      <dgm:t>
        <a:bodyPr/>
        <a:lstStyle/>
        <a:p>
          <a:endParaRPr lang="ru-RU"/>
        </a:p>
      </dgm:t>
    </dgm:pt>
    <dgm:pt modelId="{6A62F178-207E-4B98-B89B-19939A7265C2}" type="pres">
      <dgm:prSet presAssocID="{E22EA6E4-0FCC-4F8E-8451-12E31277B6BF}" presName="hierChild4" presStyleCnt="0"/>
      <dgm:spPr/>
    </dgm:pt>
    <dgm:pt modelId="{A2A037AC-8909-41C9-88C9-D38BCC7F891B}" type="pres">
      <dgm:prSet presAssocID="{E22EA6E4-0FCC-4F8E-8451-12E31277B6BF}" presName="hierChild5" presStyleCnt="0"/>
      <dgm:spPr/>
    </dgm:pt>
    <dgm:pt modelId="{C86258B9-E63A-467C-9E38-DE0DE9580C7B}" type="pres">
      <dgm:prSet presAssocID="{F68D0582-09E2-4D50-A755-411B2AEC2C2E}" presName="Name37" presStyleLbl="parChTrans1D3" presStyleIdx="7" presStyleCnt="15" custSzX="456924"/>
      <dgm:spPr/>
      <dgm:t>
        <a:bodyPr/>
        <a:lstStyle/>
        <a:p>
          <a:endParaRPr lang="ru-RU"/>
        </a:p>
      </dgm:t>
    </dgm:pt>
    <dgm:pt modelId="{A380263A-53C3-4998-AF00-168672E0D59C}" type="pres">
      <dgm:prSet presAssocID="{347893E0-1B09-45BE-90EC-02D98FE41304}" presName="hierRoot2" presStyleCnt="0">
        <dgm:presLayoutVars>
          <dgm:hierBranch val="init"/>
        </dgm:presLayoutVars>
      </dgm:prSet>
      <dgm:spPr/>
    </dgm:pt>
    <dgm:pt modelId="{4F003540-DEE9-4A0A-A443-73432B6DBFA2}" type="pres">
      <dgm:prSet presAssocID="{347893E0-1B09-45BE-90EC-02D98FE41304}" presName="rootComposite" presStyleCnt="0"/>
      <dgm:spPr/>
    </dgm:pt>
    <dgm:pt modelId="{086E3204-DECF-485D-8DE2-49A7B7D4B738}" type="pres">
      <dgm:prSet presAssocID="{347893E0-1B09-45BE-90EC-02D98FE41304}" presName="rootText" presStyleLbl="node3" presStyleIdx="7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472DCD2-60C8-4E9A-B079-4604CC433E4D}" type="pres">
      <dgm:prSet presAssocID="{347893E0-1B09-45BE-90EC-02D98FE41304}" presName="rootConnector" presStyleLbl="node3" presStyleIdx="7" presStyleCnt="15"/>
      <dgm:spPr/>
      <dgm:t>
        <a:bodyPr/>
        <a:lstStyle/>
        <a:p>
          <a:endParaRPr lang="ru-RU"/>
        </a:p>
      </dgm:t>
    </dgm:pt>
    <dgm:pt modelId="{775E8E5E-8C0C-4810-8AA0-C7ABA00554A5}" type="pres">
      <dgm:prSet presAssocID="{347893E0-1B09-45BE-90EC-02D98FE41304}" presName="hierChild4" presStyleCnt="0"/>
      <dgm:spPr/>
    </dgm:pt>
    <dgm:pt modelId="{2F451687-8066-4764-921F-D2137FD84F98}" type="pres">
      <dgm:prSet presAssocID="{347893E0-1B09-45BE-90EC-02D98FE41304}" presName="hierChild5" presStyleCnt="0"/>
      <dgm:spPr/>
    </dgm:pt>
    <dgm:pt modelId="{28EF93C1-F7AF-4101-8EC6-BD56B086526F}" type="pres">
      <dgm:prSet presAssocID="{39EDBD1B-6C12-48FF-821A-2AFFC3F84A31}" presName="Name37" presStyleLbl="parChTrans1D3" presStyleIdx="8" presStyleCnt="15" custSzX="456924"/>
      <dgm:spPr/>
      <dgm:t>
        <a:bodyPr/>
        <a:lstStyle/>
        <a:p>
          <a:endParaRPr lang="ru-RU"/>
        </a:p>
      </dgm:t>
    </dgm:pt>
    <dgm:pt modelId="{AF21E0FC-C14A-4C95-9FFB-966741E7B681}" type="pres">
      <dgm:prSet presAssocID="{651B546E-69DF-4A95-8B93-A54A2033E6C6}" presName="hierRoot2" presStyleCnt="0">
        <dgm:presLayoutVars>
          <dgm:hierBranch val="init"/>
        </dgm:presLayoutVars>
      </dgm:prSet>
      <dgm:spPr/>
    </dgm:pt>
    <dgm:pt modelId="{A8C41DB0-CCA9-4F3A-A8D5-C98D55DBBD6D}" type="pres">
      <dgm:prSet presAssocID="{651B546E-69DF-4A95-8B93-A54A2033E6C6}" presName="rootComposite" presStyleCnt="0"/>
      <dgm:spPr/>
    </dgm:pt>
    <dgm:pt modelId="{4E139D75-FC17-4BAF-A8C1-44609F7B5CD8}" type="pres">
      <dgm:prSet presAssocID="{651B546E-69DF-4A95-8B93-A54A2033E6C6}" presName="rootText" presStyleLbl="node3" presStyleIdx="8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8994CC0-9F99-46E1-82E9-AE3947781F1C}" type="pres">
      <dgm:prSet presAssocID="{651B546E-69DF-4A95-8B93-A54A2033E6C6}" presName="rootConnector" presStyleLbl="node3" presStyleIdx="8" presStyleCnt="15"/>
      <dgm:spPr/>
      <dgm:t>
        <a:bodyPr/>
        <a:lstStyle/>
        <a:p>
          <a:endParaRPr lang="ru-RU"/>
        </a:p>
      </dgm:t>
    </dgm:pt>
    <dgm:pt modelId="{3D867D0F-4512-42F4-B364-DD0F1E4D3787}" type="pres">
      <dgm:prSet presAssocID="{651B546E-69DF-4A95-8B93-A54A2033E6C6}" presName="hierChild4" presStyleCnt="0"/>
      <dgm:spPr/>
    </dgm:pt>
    <dgm:pt modelId="{4806D409-F91E-4AFE-904D-78E5A7B2EE66}" type="pres">
      <dgm:prSet presAssocID="{651B546E-69DF-4A95-8B93-A54A2033E6C6}" presName="hierChild5" presStyleCnt="0"/>
      <dgm:spPr/>
    </dgm:pt>
    <dgm:pt modelId="{610CCB8A-424D-4058-B89A-E54E99A9F82C}" type="pres">
      <dgm:prSet presAssocID="{180A1B2F-07B0-4B41-ADFE-355767F913A4}" presName="Name37" presStyleLbl="parChTrans1D3" presStyleIdx="9" presStyleCnt="15" custSzX="456924"/>
      <dgm:spPr/>
      <dgm:t>
        <a:bodyPr/>
        <a:lstStyle/>
        <a:p>
          <a:endParaRPr lang="ru-RU"/>
        </a:p>
      </dgm:t>
    </dgm:pt>
    <dgm:pt modelId="{54AEAFAC-219B-46E9-9303-4F7B3AE2642A}" type="pres">
      <dgm:prSet presAssocID="{F455EAEA-D336-4F4A-8020-4D0AD7032E1A}" presName="hierRoot2" presStyleCnt="0">
        <dgm:presLayoutVars>
          <dgm:hierBranch val="init"/>
        </dgm:presLayoutVars>
      </dgm:prSet>
      <dgm:spPr/>
    </dgm:pt>
    <dgm:pt modelId="{D05B35DF-2DC3-4BE4-BF6C-DBD52C36F2AC}" type="pres">
      <dgm:prSet presAssocID="{F455EAEA-D336-4F4A-8020-4D0AD7032E1A}" presName="rootComposite" presStyleCnt="0"/>
      <dgm:spPr/>
    </dgm:pt>
    <dgm:pt modelId="{69979909-E26B-4D9B-BD22-DEBD3077CB2C}" type="pres">
      <dgm:prSet presAssocID="{F455EAEA-D336-4F4A-8020-4D0AD7032E1A}" presName="rootText" presStyleLbl="node3" presStyleIdx="9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3302BFF-F1BD-4548-A12E-B5500A0C1ECC}" type="pres">
      <dgm:prSet presAssocID="{F455EAEA-D336-4F4A-8020-4D0AD7032E1A}" presName="rootConnector" presStyleLbl="node3" presStyleIdx="9" presStyleCnt="15"/>
      <dgm:spPr/>
      <dgm:t>
        <a:bodyPr/>
        <a:lstStyle/>
        <a:p>
          <a:endParaRPr lang="ru-RU"/>
        </a:p>
      </dgm:t>
    </dgm:pt>
    <dgm:pt modelId="{D35234A4-94D3-4B4D-9FA8-9516B4DA7369}" type="pres">
      <dgm:prSet presAssocID="{F455EAEA-D336-4F4A-8020-4D0AD7032E1A}" presName="hierChild4" presStyleCnt="0"/>
      <dgm:spPr/>
    </dgm:pt>
    <dgm:pt modelId="{64829F37-2426-41EE-959E-4477D6C6D4AD}" type="pres">
      <dgm:prSet presAssocID="{F455EAEA-D336-4F4A-8020-4D0AD7032E1A}" presName="hierChild5" presStyleCnt="0"/>
      <dgm:spPr/>
    </dgm:pt>
    <dgm:pt modelId="{F5FACF50-2229-4EC5-9DE7-D6B07C0E1DD4}" type="pres">
      <dgm:prSet presAssocID="{FB76CB6D-A726-432D-823A-5FB242AA0D8B}" presName="hierChild5" presStyleCnt="0"/>
      <dgm:spPr/>
    </dgm:pt>
    <dgm:pt modelId="{5DC9774D-A514-45F9-B665-44FF6153CBC8}" type="pres">
      <dgm:prSet presAssocID="{A37C25D3-A6B7-45B6-8392-BE5A27BD024A}" presName="Name37" presStyleLbl="parChTrans1D2" presStyleIdx="2" presStyleCnt="3" custSzX="3685860"/>
      <dgm:spPr/>
      <dgm:t>
        <a:bodyPr/>
        <a:lstStyle/>
        <a:p>
          <a:endParaRPr lang="ru-RU"/>
        </a:p>
      </dgm:t>
    </dgm:pt>
    <dgm:pt modelId="{7BBB9EA9-E9C9-43AB-947A-DEEC62EA6EE0}" type="pres">
      <dgm:prSet presAssocID="{2742F8A0-06F2-4313-9AF0-F249257AE6C5}" presName="hierRoot2" presStyleCnt="0">
        <dgm:presLayoutVars>
          <dgm:hierBranch val="init"/>
        </dgm:presLayoutVars>
      </dgm:prSet>
      <dgm:spPr/>
    </dgm:pt>
    <dgm:pt modelId="{784CACED-C7C8-4A91-9F32-18BE2EF8FF8D}" type="pres">
      <dgm:prSet presAssocID="{2742F8A0-06F2-4313-9AF0-F249257AE6C5}" presName="rootComposite" presStyleCnt="0"/>
      <dgm:spPr/>
    </dgm:pt>
    <dgm:pt modelId="{2C1E32B0-9A5D-44D1-8069-D69AEEE9CACC}" type="pres">
      <dgm:prSet presAssocID="{2742F8A0-06F2-4313-9AF0-F249257AE6C5}" presName="rootText" presStyleLbl="node2" presStyleIdx="2" presStyleCnt="3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AA5AC8F-7B67-4E2E-9A66-217EEC9BE7E9}" type="pres">
      <dgm:prSet presAssocID="{2742F8A0-06F2-4313-9AF0-F249257AE6C5}" presName="rootConnector" presStyleLbl="node2" presStyleIdx="2" presStyleCnt="3"/>
      <dgm:spPr/>
      <dgm:t>
        <a:bodyPr/>
        <a:lstStyle/>
        <a:p>
          <a:endParaRPr lang="ru-RU"/>
        </a:p>
      </dgm:t>
    </dgm:pt>
    <dgm:pt modelId="{23FB6E80-A59A-470E-B281-1573F8F1D4AC}" type="pres">
      <dgm:prSet presAssocID="{2742F8A0-06F2-4313-9AF0-F249257AE6C5}" presName="hierChild4" presStyleCnt="0"/>
      <dgm:spPr/>
    </dgm:pt>
    <dgm:pt modelId="{EAC9B74D-1CA1-4EBC-83C0-078E2843B3B5}" type="pres">
      <dgm:prSet presAssocID="{7E1E79E4-798B-434D-8271-BF5435C6ABE0}" presName="Name37" presStyleLbl="parChTrans1D3" presStyleIdx="10" presStyleCnt="15" custSzX="456924"/>
      <dgm:spPr/>
      <dgm:t>
        <a:bodyPr/>
        <a:lstStyle/>
        <a:p>
          <a:endParaRPr lang="ru-RU"/>
        </a:p>
      </dgm:t>
    </dgm:pt>
    <dgm:pt modelId="{457EEE6B-30F6-4FE8-A89A-923FA3971D23}" type="pres">
      <dgm:prSet presAssocID="{42E52D28-3B65-4014-B6A9-79129902F34B}" presName="hierRoot2" presStyleCnt="0">
        <dgm:presLayoutVars>
          <dgm:hierBranch val="init"/>
        </dgm:presLayoutVars>
      </dgm:prSet>
      <dgm:spPr/>
    </dgm:pt>
    <dgm:pt modelId="{2D3A27C6-D304-41B9-ABBA-8CFF00B2162D}" type="pres">
      <dgm:prSet presAssocID="{42E52D28-3B65-4014-B6A9-79129902F34B}" presName="rootComposite" presStyleCnt="0"/>
      <dgm:spPr/>
    </dgm:pt>
    <dgm:pt modelId="{00C5C967-E72F-4113-A079-2B07C7E0A06E}" type="pres">
      <dgm:prSet presAssocID="{42E52D28-3B65-4014-B6A9-79129902F34B}" presName="rootText" presStyleLbl="node3" presStyleIdx="10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DD6D80D-DE81-4342-83BE-BF5515E31332}" type="pres">
      <dgm:prSet presAssocID="{42E52D28-3B65-4014-B6A9-79129902F34B}" presName="rootConnector" presStyleLbl="node3" presStyleIdx="10" presStyleCnt="15"/>
      <dgm:spPr/>
      <dgm:t>
        <a:bodyPr/>
        <a:lstStyle/>
        <a:p>
          <a:endParaRPr lang="ru-RU"/>
        </a:p>
      </dgm:t>
    </dgm:pt>
    <dgm:pt modelId="{46626EDF-9D75-4631-954A-FE1765B5508D}" type="pres">
      <dgm:prSet presAssocID="{42E52D28-3B65-4014-B6A9-79129902F34B}" presName="hierChild4" presStyleCnt="0"/>
      <dgm:spPr/>
    </dgm:pt>
    <dgm:pt modelId="{A4C4A286-C710-4E22-AB4E-028D397E1147}" type="pres">
      <dgm:prSet presAssocID="{42E52D28-3B65-4014-B6A9-79129902F34B}" presName="hierChild5" presStyleCnt="0"/>
      <dgm:spPr/>
    </dgm:pt>
    <dgm:pt modelId="{AAA3F06F-9BFC-4F4A-A02A-EABAB0B569A1}" type="pres">
      <dgm:prSet presAssocID="{F9630A15-59D2-4BF5-BFF9-DE65F169656D}" presName="Name37" presStyleLbl="parChTrans1D3" presStyleIdx="11" presStyleCnt="15" custSzX="456924"/>
      <dgm:spPr/>
      <dgm:t>
        <a:bodyPr/>
        <a:lstStyle/>
        <a:p>
          <a:endParaRPr lang="ru-RU"/>
        </a:p>
      </dgm:t>
    </dgm:pt>
    <dgm:pt modelId="{A044ED25-3E36-401A-8A00-1A5E921BC4CB}" type="pres">
      <dgm:prSet presAssocID="{9BE3CD55-14F3-46E9-9E4A-9F6C61EC3619}" presName="hierRoot2" presStyleCnt="0">
        <dgm:presLayoutVars>
          <dgm:hierBranch val="init"/>
        </dgm:presLayoutVars>
      </dgm:prSet>
      <dgm:spPr/>
    </dgm:pt>
    <dgm:pt modelId="{C9609C43-558D-4ABE-B66B-0D861143DFC4}" type="pres">
      <dgm:prSet presAssocID="{9BE3CD55-14F3-46E9-9E4A-9F6C61EC3619}" presName="rootComposite" presStyleCnt="0"/>
      <dgm:spPr/>
    </dgm:pt>
    <dgm:pt modelId="{0E6BF8F0-269F-4064-968B-51D58F471451}" type="pres">
      <dgm:prSet presAssocID="{9BE3CD55-14F3-46E9-9E4A-9F6C61EC3619}" presName="rootText" presStyleLbl="node3" presStyleIdx="11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2E10D8E-E77B-4BBB-8CD4-7ED6D6155C63}" type="pres">
      <dgm:prSet presAssocID="{9BE3CD55-14F3-46E9-9E4A-9F6C61EC3619}" presName="rootConnector" presStyleLbl="node3" presStyleIdx="11" presStyleCnt="15"/>
      <dgm:spPr/>
      <dgm:t>
        <a:bodyPr/>
        <a:lstStyle/>
        <a:p>
          <a:endParaRPr lang="ru-RU"/>
        </a:p>
      </dgm:t>
    </dgm:pt>
    <dgm:pt modelId="{900FFF4E-7C24-4792-A9F1-56978D57450A}" type="pres">
      <dgm:prSet presAssocID="{9BE3CD55-14F3-46E9-9E4A-9F6C61EC3619}" presName="hierChild4" presStyleCnt="0"/>
      <dgm:spPr/>
    </dgm:pt>
    <dgm:pt modelId="{E9E66DA7-7AFB-4F60-BDFE-B578B929A44B}" type="pres">
      <dgm:prSet presAssocID="{9BE3CD55-14F3-46E9-9E4A-9F6C61EC3619}" presName="hierChild5" presStyleCnt="0"/>
      <dgm:spPr/>
    </dgm:pt>
    <dgm:pt modelId="{1F601ECD-E298-434B-B302-D51FD2DAB51E}" type="pres">
      <dgm:prSet presAssocID="{CAAC6FFD-27DF-452D-A21F-534E178A4C21}" presName="Name37" presStyleLbl="parChTrans1D3" presStyleIdx="12" presStyleCnt="15" custSzX="456924"/>
      <dgm:spPr/>
      <dgm:t>
        <a:bodyPr/>
        <a:lstStyle/>
        <a:p>
          <a:endParaRPr lang="ru-RU"/>
        </a:p>
      </dgm:t>
    </dgm:pt>
    <dgm:pt modelId="{13DCEECE-2D8F-4DB3-AD92-3EAAC88873B8}" type="pres">
      <dgm:prSet presAssocID="{A52ACAB8-8762-4B8D-AFDC-2510B8975E00}" presName="hierRoot2" presStyleCnt="0">
        <dgm:presLayoutVars>
          <dgm:hierBranch val="init"/>
        </dgm:presLayoutVars>
      </dgm:prSet>
      <dgm:spPr/>
    </dgm:pt>
    <dgm:pt modelId="{DE978DD2-EAD6-4E12-9729-4EAC9BCAF94C}" type="pres">
      <dgm:prSet presAssocID="{A52ACAB8-8762-4B8D-AFDC-2510B8975E00}" presName="rootComposite" presStyleCnt="0"/>
      <dgm:spPr/>
    </dgm:pt>
    <dgm:pt modelId="{15EACC97-7CC8-49A9-91E9-814383ACB61A}" type="pres">
      <dgm:prSet presAssocID="{A52ACAB8-8762-4B8D-AFDC-2510B8975E00}" presName="rootText" presStyleLbl="node3" presStyleIdx="12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DA1E66E-2763-406D-94CA-934C9632DC4A}" type="pres">
      <dgm:prSet presAssocID="{A52ACAB8-8762-4B8D-AFDC-2510B8975E00}" presName="rootConnector" presStyleLbl="node3" presStyleIdx="12" presStyleCnt="15"/>
      <dgm:spPr/>
      <dgm:t>
        <a:bodyPr/>
        <a:lstStyle/>
        <a:p>
          <a:endParaRPr lang="ru-RU"/>
        </a:p>
      </dgm:t>
    </dgm:pt>
    <dgm:pt modelId="{EE0388C7-2D01-48B4-918D-92E266CC5C7B}" type="pres">
      <dgm:prSet presAssocID="{A52ACAB8-8762-4B8D-AFDC-2510B8975E00}" presName="hierChild4" presStyleCnt="0"/>
      <dgm:spPr/>
    </dgm:pt>
    <dgm:pt modelId="{EDC10BCB-5F68-4905-9CF6-7138C3F6B25A}" type="pres">
      <dgm:prSet presAssocID="{A52ACAB8-8762-4B8D-AFDC-2510B8975E00}" presName="hierChild5" presStyleCnt="0"/>
      <dgm:spPr/>
    </dgm:pt>
    <dgm:pt modelId="{49B7E8CF-FF38-478D-B53A-BB39ABF379F0}" type="pres">
      <dgm:prSet presAssocID="{2671FA13-46D8-4DCB-AB38-D2BAA6060E6B}" presName="Name37" presStyleLbl="parChTrans1D3" presStyleIdx="13" presStyleCnt="15" custSzX="456924"/>
      <dgm:spPr/>
      <dgm:t>
        <a:bodyPr/>
        <a:lstStyle/>
        <a:p>
          <a:endParaRPr lang="ru-RU"/>
        </a:p>
      </dgm:t>
    </dgm:pt>
    <dgm:pt modelId="{EE47F08C-DE05-4F18-9FE8-A36CF41F4711}" type="pres">
      <dgm:prSet presAssocID="{99049C2A-CFB1-4CF4-A513-E7D7C0F51272}" presName="hierRoot2" presStyleCnt="0">
        <dgm:presLayoutVars>
          <dgm:hierBranch val="init"/>
        </dgm:presLayoutVars>
      </dgm:prSet>
      <dgm:spPr/>
    </dgm:pt>
    <dgm:pt modelId="{020217A6-F5F0-4BAA-BEBC-5BDA1C19D3AE}" type="pres">
      <dgm:prSet presAssocID="{99049C2A-CFB1-4CF4-A513-E7D7C0F51272}" presName="rootComposite" presStyleCnt="0"/>
      <dgm:spPr/>
    </dgm:pt>
    <dgm:pt modelId="{ADE07E75-D122-4290-9D7A-5B84E76B50E3}" type="pres">
      <dgm:prSet presAssocID="{99049C2A-CFB1-4CF4-A513-E7D7C0F51272}" presName="rootText" presStyleLbl="node3" presStyleIdx="13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B0AA949-7A74-4F93-B7B9-63362A28EF64}" type="pres">
      <dgm:prSet presAssocID="{99049C2A-CFB1-4CF4-A513-E7D7C0F51272}" presName="rootConnector" presStyleLbl="node3" presStyleIdx="13" presStyleCnt="15"/>
      <dgm:spPr/>
      <dgm:t>
        <a:bodyPr/>
        <a:lstStyle/>
        <a:p>
          <a:endParaRPr lang="ru-RU"/>
        </a:p>
      </dgm:t>
    </dgm:pt>
    <dgm:pt modelId="{F663F452-85BE-4189-9340-1EE6F8DDD0E8}" type="pres">
      <dgm:prSet presAssocID="{99049C2A-CFB1-4CF4-A513-E7D7C0F51272}" presName="hierChild4" presStyleCnt="0"/>
      <dgm:spPr/>
    </dgm:pt>
    <dgm:pt modelId="{F7C6086F-1786-49D8-82F7-A935AB705B11}" type="pres">
      <dgm:prSet presAssocID="{99049C2A-CFB1-4CF4-A513-E7D7C0F51272}" presName="hierChild5" presStyleCnt="0"/>
      <dgm:spPr/>
    </dgm:pt>
    <dgm:pt modelId="{2E99663E-355B-415A-BE1B-6E96BED84E2E}" type="pres">
      <dgm:prSet presAssocID="{9925B761-C2A7-4126-9555-A1A94FBBEC4A}" presName="Name37" presStyleLbl="parChTrans1D3" presStyleIdx="14" presStyleCnt="15" custSzX="456924"/>
      <dgm:spPr/>
      <dgm:t>
        <a:bodyPr/>
        <a:lstStyle/>
        <a:p>
          <a:endParaRPr lang="ru-RU"/>
        </a:p>
      </dgm:t>
    </dgm:pt>
    <dgm:pt modelId="{833AD71E-5B2D-4D2E-B700-FB8C7004BD8C}" type="pres">
      <dgm:prSet presAssocID="{2B313922-1108-4D9D-9EBA-CC2C161407F7}" presName="hierRoot2" presStyleCnt="0">
        <dgm:presLayoutVars>
          <dgm:hierBranch val="init"/>
        </dgm:presLayoutVars>
      </dgm:prSet>
      <dgm:spPr/>
    </dgm:pt>
    <dgm:pt modelId="{B23CA268-B407-449C-B4E3-7E5DA8341FC4}" type="pres">
      <dgm:prSet presAssocID="{2B313922-1108-4D9D-9EBA-CC2C161407F7}" presName="rootComposite" presStyleCnt="0"/>
      <dgm:spPr/>
    </dgm:pt>
    <dgm:pt modelId="{79B4F591-F952-4C3E-A9B3-5FA9BEC4FEBA}" type="pres">
      <dgm:prSet presAssocID="{2B313922-1108-4D9D-9EBA-CC2C161407F7}" presName="rootText" presStyleLbl="node3" presStyleIdx="14" presStyleCnt="15" custScaleX="3877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2DC757B-1591-4732-A693-1F9574BE695E}" type="pres">
      <dgm:prSet presAssocID="{2B313922-1108-4D9D-9EBA-CC2C161407F7}" presName="rootConnector" presStyleLbl="node3" presStyleIdx="14" presStyleCnt="15"/>
      <dgm:spPr/>
      <dgm:t>
        <a:bodyPr/>
        <a:lstStyle/>
        <a:p>
          <a:endParaRPr lang="ru-RU"/>
        </a:p>
      </dgm:t>
    </dgm:pt>
    <dgm:pt modelId="{5081C53D-81AC-4940-AA02-9A7CFB45D22A}" type="pres">
      <dgm:prSet presAssocID="{2B313922-1108-4D9D-9EBA-CC2C161407F7}" presName="hierChild4" presStyleCnt="0"/>
      <dgm:spPr/>
    </dgm:pt>
    <dgm:pt modelId="{5B9AFC94-37C1-41A4-9E00-4727AF4E6CC4}" type="pres">
      <dgm:prSet presAssocID="{2B313922-1108-4D9D-9EBA-CC2C161407F7}" presName="hierChild5" presStyleCnt="0"/>
      <dgm:spPr/>
    </dgm:pt>
    <dgm:pt modelId="{32D43311-2245-4A2A-8091-88F899AEDC41}" type="pres">
      <dgm:prSet presAssocID="{2742F8A0-06F2-4313-9AF0-F249257AE6C5}" presName="hierChild5" presStyleCnt="0"/>
      <dgm:spPr/>
    </dgm:pt>
    <dgm:pt modelId="{7614B56B-D9FC-4F65-86E3-BFE40C8DBFB8}" type="pres">
      <dgm:prSet presAssocID="{AC327C1A-B96B-4A7E-B868-90E2587E1005}" presName="hierChild3" presStyleCnt="0"/>
      <dgm:spPr/>
    </dgm:pt>
  </dgm:ptLst>
  <dgm:cxnLst>
    <dgm:cxn modelId="{8F3EC65B-C19D-4AB6-9203-BAE89BE06CD4}" type="presOf" srcId="{2742F8A0-06F2-4313-9AF0-F249257AE6C5}" destId="{8AA5AC8F-7B67-4E2E-9A66-217EEC9BE7E9}" srcOrd="1" destOrd="0" presId="urn:microsoft.com/office/officeart/2005/8/layout/orgChart1"/>
    <dgm:cxn modelId="{9D92A311-8EC5-4D12-A5FB-FEF881C8D547}" type="presOf" srcId="{F455EAEA-D336-4F4A-8020-4D0AD7032E1A}" destId="{69979909-E26B-4D9B-BD22-DEBD3077CB2C}" srcOrd="0" destOrd="0" presId="urn:microsoft.com/office/officeart/2005/8/layout/orgChart1"/>
    <dgm:cxn modelId="{6BB23B99-D2DE-4D3E-A03B-457FF6A061EA}" type="presOf" srcId="{404D53D4-0FBE-4A0B-934A-D2D5429C0D40}" destId="{CEB260A4-FE2E-4169-845E-55B49ACABD06}" srcOrd="1" destOrd="0" presId="urn:microsoft.com/office/officeart/2005/8/layout/orgChart1"/>
    <dgm:cxn modelId="{99BF9189-31B8-4E5D-8885-60A9F5BA9885}" type="presOf" srcId="{99049C2A-CFB1-4CF4-A513-E7D7C0F51272}" destId="{7B0AA949-7A74-4F93-B7B9-63362A28EF64}" srcOrd="1" destOrd="0" presId="urn:microsoft.com/office/officeart/2005/8/layout/orgChart1"/>
    <dgm:cxn modelId="{6EA19FB1-258B-4D6E-B2FF-43BEFF994B47}" srcId="{FB76CB6D-A726-432D-823A-5FB242AA0D8B}" destId="{E22EA6E4-0FCC-4F8E-8451-12E31277B6BF}" srcOrd="2" destOrd="0" parTransId="{B348C27F-A42A-40FE-8CC6-E83787D33DA8}" sibTransId="{BB66E1AB-8AA4-4E6D-AFAF-776B49C2254F}"/>
    <dgm:cxn modelId="{E46FB804-FCE9-46F6-9CFB-AC59594D4B2B}" type="presOf" srcId="{6BBFD88D-FBEF-4CF9-9172-6013B81C0C6F}" destId="{2A398801-E279-44BB-A27F-6D37AD7735DF}" srcOrd="0" destOrd="0" presId="urn:microsoft.com/office/officeart/2005/8/layout/orgChart1"/>
    <dgm:cxn modelId="{9A1531CF-77E7-4DD8-A80A-74C377CF4F13}" type="presOf" srcId="{99049C2A-CFB1-4CF4-A513-E7D7C0F51272}" destId="{ADE07E75-D122-4290-9D7A-5B84E76B50E3}" srcOrd="0" destOrd="0" presId="urn:microsoft.com/office/officeart/2005/8/layout/orgChart1"/>
    <dgm:cxn modelId="{81CF67B2-E62F-41F0-BF67-771C283A4E84}" type="presOf" srcId="{9BE3CD55-14F3-46E9-9E4A-9F6C61EC3619}" destId="{0E6BF8F0-269F-4064-968B-51D58F471451}" srcOrd="0" destOrd="0" presId="urn:microsoft.com/office/officeart/2005/8/layout/orgChart1"/>
    <dgm:cxn modelId="{5A4E91F1-06BB-40E4-AB67-CE55E2910780}" type="presOf" srcId="{180A1B2F-07B0-4B41-ADFE-355767F913A4}" destId="{610CCB8A-424D-4058-B89A-E54E99A9F82C}" srcOrd="0" destOrd="0" presId="urn:microsoft.com/office/officeart/2005/8/layout/orgChart1"/>
    <dgm:cxn modelId="{DBFB3268-A2F2-4A07-B2CF-252CE6123DCF}" type="presOf" srcId="{347893E0-1B09-45BE-90EC-02D98FE41304}" destId="{0472DCD2-60C8-4E9A-B079-4604CC433E4D}" srcOrd="1" destOrd="0" presId="urn:microsoft.com/office/officeart/2005/8/layout/orgChart1"/>
    <dgm:cxn modelId="{09C04DA8-A675-4987-90A5-AFE40C449337}" type="presOf" srcId="{19CF3D7A-6992-451A-BE77-76A2F67C3881}" destId="{FCCED5AC-901C-468E-BE5E-51EAE1D16113}" srcOrd="0" destOrd="0" presId="urn:microsoft.com/office/officeart/2005/8/layout/orgChart1"/>
    <dgm:cxn modelId="{8F65C353-8215-4E4D-9ABC-E6E446015E69}" type="presOf" srcId="{751CB5DB-7AB3-44AA-9C1D-52137FCED3CB}" destId="{978915EC-CA8E-482C-AFBC-9074B9E2CA31}" srcOrd="1" destOrd="0" presId="urn:microsoft.com/office/officeart/2005/8/layout/orgChart1"/>
    <dgm:cxn modelId="{DA7298A5-4895-4DB0-87AC-091971265128}" type="presOf" srcId="{0575173A-E83F-402E-9370-B5A222C18AAE}" destId="{E82045EE-7760-48C9-A318-96E632D7EFE5}" srcOrd="0" destOrd="0" presId="urn:microsoft.com/office/officeart/2005/8/layout/orgChart1"/>
    <dgm:cxn modelId="{FBEA083C-89A4-4ACF-BBBC-6F00751B8001}" type="presOf" srcId="{6458EE75-7AE6-4D48-A69C-1CC9086EBB6C}" destId="{14584F89-E045-4C25-B31B-87A29C7D412D}" srcOrd="0" destOrd="0" presId="urn:microsoft.com/office/officeart/2005/8/layout/orgChart1"/>
    <dgm:cxn modelId="{BC7E40AA-B25E-441A-A5C1-B0B6F312968C}" type="presOf" srcId="{2742F8A0-06F2-4313-9AF0-F249257AE6C5}" destId="{2C1E32B0-9A5D-44D1-8069-D69AEEE9CACC}" srcOrd="0" destOrd="0" presId="urn:microsoft.com/office/officeart/2005/8/layout/orgChart1"/>
    <dgm:cxn modelId="{30159BB7-716C-4F63-A0E1-338A2E470466}" type="presOf" srcId="{42E52D28-3B65-4014-B6A9-79129902F34B}" destId="{5DD6D80D-DE81-4342-83BE-BF5515E31332}" srcOrd="1" destOrd="0" presId="urn:microsoft.com/office/officeart/2005/8/layout/orgChart1"/>
    <dgm:cxn modelId="{DA5C5F46-EA10-418B-822A-0F2F55CEF753}" type="presOf" srcId="{F455EAEA-D336-4F4A-8020-4D0AD7032E1A}" destId="{E3302BFF-F1BD-4548-A12E-B5500A0C1ECC}" srcOrd="1" destOrd="0" presId="urn:microsoft.com/office/officeart/2005/8/layout/orgChart1"/>
    <dgm:cxn modelId="{E97F1B40-A36A-4653-9093-232922BF0F03}" type="presOf" srcId="{19CF3D7A-6992-451A-BE77-76A2F67C3881}" destId="{AB423975-2097-4774-97EF-9D775A0C2CA2}" srcOrd="1" destOrd="0" presId="urn:microsoft.com/office/officeart/2005/8/layout/orgChart1"/>
    <dgm:cxn modelId="{ED8A8410-DD93-4A76-B950-3C5610CB0B8A}" type="presOf" srcId="{CAAC6FFD-27DF-452D-A21F-534E178A4C21}" destId="{1F601ECD-E298-434B-B302-D51FD2DAB51E}" srcOrd="0" destOrd="0" presId="urn:microsoft.com/office/officeart/2005/8/layout/orgChart1"/>
    <dgm:cxn modelId="{7315A60E-F3AD-4554-BA23-104A13B5EA2A}" srcId="{FB76CB6D-A726-432D-823A-5FB242AA0D8B}" destId="{6458EE75-7AE6-4D48-A69C-1CC9086EBB6C}" srcOrd="0" destOrd="0" parTransId="{0575173A-E83F-402E-9370-B5A222C18AAE}" sibTransId="{EB028CF3-2864-4AB7-AD18-F0F76693E2D1}"/>
    <dgm:cxn modelId="{E6269C49-FBC6-447E-806A-AB5262DAABB1}" srcId="{4CBBC3E7-175F-44A4-9FF8-5EA1A328FF68}" destId="{AC327C1A-B96B-4A7E-B868-90E2587E1005}" srcOrd="0" destOrd="0" parTransId="{50258427-3CFA-46F7-8048-CA761F1B90CC}" sibTransId="{23F8D34A-1BAD-471B-BB27-9E96F5BCD8A7}"/>
    <dgm:cxn modelId="{720A3E89-C68E-4B34-8BEE-BE44A85E9DD6}" srcId="{2742F8A0-06F2-4313-9AF0-F249257AE6C5}" destId="{42E52D28-3B65-4014-B6A9-79129902F34B}" srcOrd="0" destOrd="0" parTransId="{7E1E79E4-798B-434D-8271-BF5435C6ABE0}" sibTransId="{6DB4A03A-F7D3-44C7-B799-D1EF55B3600E}"/>
    <dgm:cxn modelId="{A26DE138-3AA2-4601-AD00-6C91A934DC38}" type="presOf" srcId="{E22EA6E4-0FCC-4F8E-8451-12E31277B6BF}" destId="{EA7FD5D8-99F3-4924-9986-A495F8BD09AE}" srcOrd="1" destOrd="0" presId="urn:microsoft.com/office/officeart/2005/8/layout/orgChart1"/>
    <dgm:cxn modelId="{0A007CE0-A4C3-4A35-882E-FD3FAD76F860}" srcId="{AC327C1A-B96B-4A7E-B868-90E2587E1005}" destId="{2742F8A0-06F2-4313-9AF0-F249257AE6C5}" srcOrd="2" destOrd="0" parTransId="{A37C25D3-A6B7-45B6-8392-BE5A27BD024A}" sibTransId="{EB8816AE-7656-4CB4-B539-CC2B1E3FF16A}"/>
    <dgm:cxn modelId="{AA64E839-6D02-4922-99B2-02FF2E1336D2}" type="presOf" srcId="{A52ACAB8-8762-4B8D-AFDC-2510B8975E00}" destId="{15EACC97-7CC8-49A9-91E9-814383ACB61A}" srcOrd="0" destOrd="0" presId="urn:microsoft.com/office/officeart/2005/8/layout/orgChart1"/>
    <dgm:cxn modelId="{1964CF69-A769-4F09-AF27-1971FE6BF86B}" srcId="{C8D3EB25-C234-436B-A11A-6943EF25061F}" destId="{80FFB25A-09B4-48B7-908C-EB8CA4794099}" srcOrd="0" destOrd="0" parTransId="{75E15CF3-B167-415D-90C6-022A8DB7B393}" sibTransId="{2C1B230C-3C3A-4C7D-9DBF-5EAD5486B297}"/>
    <dgm:cxn modelId="{3932639D-4CC4-4145-AA89-8D38EE37FE3A}" type="presOf" srcId="{9925B761-C2A7-4126-9555-A1A94FBBEC4A}" destId="{2E99663E-355B-415A-BE1B-6E96BED84E2E}" srcOrd="0" destOrd="0" presId="urn:microsoft.com/office/officeart/2005/8/layout/orgChart1"/>
    <dgm:cxn modelId="{E68CB72A-C7D3-446E-A642-EC02DAFD41F6}" type="presOf" srcId="{FB76CB6D-A726-432D-823A-5FB242AA0D8B}" destId="{08E2F819-04B3-48B9-B3D3-77E01ECDA6CF}" srcOrd="0" destOrd="0" presId="urn:microsoft.com/office/officeart/2005/8/layout/orgChart1"/>
    <dgm:cxn modelId="{20D4A6AB-DCC2-4858-B6D7-DD80021FDE51}" srcId="{FB76CB6D-A726-432D-823A-5FB242AA0D8B}" destId="{347893E0-1B09-45BE-90EC-02D98FE41304}" srcOrd="3" destOrd="0" parTransId="{F68D0582-09E2-4D50-A755-411B2AEC2C2E}" sibTransId="{C9E723E6-8850-4A1A-8712-F37700C44C9D}"/>
    <dgm:cxn modelId="{0B7177AD-ADFC-48B2-A8F3-F3FEFC9FC135}" type="presOf" srcId="{AC327C1A-B96B-4A7E-B868-90E2587E1005}" destId="{32731F0C-E48A-443E-A7DD-3A36340093DB}" srcOrd="0" destOrd="0" presId="urn:microsoft.com/office/officeart/2005/8/layout/orgChart1"/>
    <dgm:cxn modelId="{402CCE37-2434-4664-A5F8-274B9FAF1FFC}" type="presOf" srcId="{A862CB36-343B-4E05-AD28-02E74349CA9C}" destId="{78260B77-E011-4DCA-A254-A91C9B463480}" srcOrd="0" destOrd="0" presId="urn:microsoft.com/office/officeart/2005/8/layout/orgChart1"/>
    <dgm:cxn modelId="{15C401BA-EDC4-46C1-974A-8FA106C32728}" type="presOf" srcId="{1D44C189-94AA-4C45-AB50-FCC0B5E36732}" destId="{BAEF9329-46EC-4952-B04D-97AF7F9C31D1}" srcOrd="0" destOrd="0" presId="urn:microsoft.com/office/officeart/2005/8/layout/orgChart1"/>
    <dgm:cxn modelId="{700FE720-4878-4CF6-B9D6-E713B67B0A2E}" type="presOf" srcId="{4CBBC3E7-175F-44A4-9FF8-5EA1A328FF68}" destId="{7C6E67D4-6AC1-4E43-9301-0D35A77CF747}" srcOrd="0" destOrd="0" presId="urn:microsoft.com/office/officeart/2005/8/layout/orgChart1"/>
    <dgm:cxn modelId="{63EFA4F2-D4C4-43B6-82A2-00B26B2662EB}" type="presOf" srcId="{751CB5DB-7AB3-44AA-9C1D-52137FCED3CB}" destId="{8F2AF958-9140-4320-A824-64026F258D6A}" srcOrd="0" destOrd="0" presId="urn:microsoft.com/office/officeart/2005/8/layout/orgChart1"/>
    <dgm:cxn modelId="{9EC21D90-CB7E-4FC2-A077-873A470F221C}" type="presOf" srcId="{0ED83FF8-1CBD-4A21-84AC-8B978D3A5C69}" destId="{5CD51581-9CD5-4639-8F35-12F8BC45E168}" srcOrd="0" destOrd="0" presId="urn:microsoft.com/office/officeart/2005/8/layout/orgChart1"/>
    <dgm:cxn modelId="{A83C26B5-72A3-41BC-A742-9C5B6E6109D5}" type="presOf" srcId="{C8D3EB25-C234-436B-A11A-6943EF25061F}" destId="{9197C122-9D7D-4713-BCAA-58A3D2892699}" srcOrd="1" destOrd="0" presId="urn:microsoft.com/office/officeart/2005/8/layout/orgChart1"/>
    <dgm:cxn modelId="{5EC11DD2-BB12-4B0F-BD1E-D21244847754}" srcId="{C8D3EB25-C234-436B-A11A-6943EF25061F}" destId="{751CB5DB-7AB3-44AA-9C1D-52137FCED3CB}" srcOrd="2" destOrd="0" parTransId="{6BBFD88D-FBEF-4CF9-9172-6013B81C0C6F}" sibTransId="{ABFBD89D-0A29-47D1-9335-D51EF82B6C0C}"/>
    <dgm:cxn modelId="{7DE0AE63-2597-4B87-8317-2D80EB61AAD8}" type="presOf" srcId="{651B546E-69DF-4A95-8B93-A54A2033E6C6}" destId="{4E139D75-FC17-4BAF-A8C1-44609F7B5CD8}" srcOrd="0" destOrd="0" presId="urn:microsoft.com/office/officeart/2005/8/layout/orgChart1"/>
    <dgm:cxn modelId="{24300B88-60CE-4B43-80BC-174863B61166}" type="presOf" srcId="{9BE3CD55-14F3-46E9-9E4A-9F6C61EC3619}" destId="{E2E10D8E-E77B-4BBB-8CD4-7ED6D6155C63}" srcOrd="1" destOrd="0" presId="urn:microsoft.com/office/officeart/2005/8/layout/orgChart1"/>
    <dgm:cxn modelId="{3F906309-77A7-401F-AA65-C15ADE704936}" type="presOf" srcId="{651B546E-69DF-4A95-8B93-A54A2033E6C6}" destId="{C8994CC0-9F99-46E1-82E9-AE3947781F1C}" srcOrd="1" destOrd="0" presId="urn:microsoft.com/office/officeart/2005/8/layout/orgChart1"/>
    <dgm:cxn modelId="{154383D3-E594-4AB3-B080-6E4CDC14A86B}" type="presOf" srcId="{39EDBD1B-6C12-48FF-821A-2AFFC3F84A31}" destId="{28EF93C1-F7AF-4101-8EC6-BD56B086526F}" srcOrd="0" destOrd="0" presId="urn:microsoft.com/office/officeart/2005/8/layout/orgChart1"/>
    <dgm:cxn modelId="{EA631916-41AB-48BF-AAA7-4AA4C51E0B99}" srcId="{C8D3EB25-C234-436B-A11A-6943EF25061F}" destId="{404D53D4-0FBE-4A0B-934A-D2D5429C0D40}" srcOrd="1" destOrd="0" parTransId="{3402CE8A-48EA-4A9E-B9BC-54E51251B6C8}" sibTransId="{B65FFE5A-F2CE-40CF-8058-0C6A3CB0AB08}"/>
    <dgm:cxn modelId="{6D483246-CDEC-4BCE-8C30-191867183449}" type="presOf" srcId="{2B313922-1108-4D9D-9EBA-CC2C161407F7}" destId="{C2DC757B-1591-4732-A693-1F9574BE695E}" srcOrd="1" destOrd="0" presId="urn:microsoft.com/office/officeart/2005/8/layout/orgChart1"/>
    <dgm:cxn modelId="{8276B296-1945-45D8-B122-97422F6A5D08}" type="presOf" srcId="{347893E0-1B09-45BE-90EC-02D98FE41304}" destId="{086E3204-DECF-485D-8DE2-49A7B7D4B738}" srcOrd="0" destOrd="0" presId="urn:microsoft.com/office/officeart/2005/8/layout/orgChart1"/>
    <dgm:cxn modelId="{13F7659B-E974-4927-9890-A11863860964}" type="presOf" srcId="{7996AFFF-1469-4D3C-BFF3-2AF879BFE8CD}" destId="{5517D4BB-07A9-4563-90A8-388EEA13409F}" srcOrd="0" destOrd="0" presId="urn:microsoft.com/office/officeart/2005/8/layout/orgChart1"/>
    <dgm:cxn modelId="{5F5D1F8A-762B-4842-933E-EB892AE5B9A0}" srcId="{AC327C1A-B96B-4A7E-B868-90E2587E1005}" destId="{FB76CB6D-A726-432D-823A-5FB242AA0D8B}" srcOrd="1" destOrd="0" parTransId="{0ED83FF8-1CBD-4A21-84AC-8B978D3A5C69}" sibTransId="{66135E66-25B1-42E7-AA47-13E2CC09D44B}"/>
    <dgm:cxn modelId="{D5FFD074-8D2A-481E-AA8C-81B35ED33EE9}" type="presOf" srcId="{A37C25D3-A6B7-45B6-8392-BE5A27BD024A}" destId="{5DC9774D-A514-45F9-B665-44FF6153CBC8}" srcOrd="0" destOrd="0" presId="urn:microsoft.com/office/officeart/2005/8/layout/orgChart1"/>
    <dgm:cxn modelId="{B43F6F32-D735-41DA-BF32-2753CA5CD688}" type="presOf" srcId="{7996AFFF-1469-4D3C-BFF3-2AF879BFE8CD}" destId="{4845083F-1A56-4120-BB9B-EAC98F69AFD0}" srcOrd="1" destOrd="0" presId="urn:microsoft.com/office/officeart/2005/8/layout/orgChart1"/>
    <dgm:cxn modelId="{68AFF1AD-7622-4A46-8F0C-8C6AD11ED220}" type="presOf" srcId="{3402CE8A-48EA-4A9E-B9BC-54E51251B6C8}" destId="{3C72897F-5BD9-4130-BF92-DF7528B917CB}" srcOrd="0" destOrd="0" presId="urn:microsoft.com/office/officeart/2005/8/layout/orgChart1"/>
    <dgm:cxn modelId="{74A1431F-F1F7-43FF-8A90-88786553CC50}" type="presOf" srcId="{F9630A15-59D2-4BF5-BFF9-DE65F169656D}" destId="{AAA3F06F-9BFC-4F4A-A02A-EABAB0B569A1}" srcOrd="0" destOrd="0" presId="urn:microsoft.com/office/officeart/2005/8/layout/orgChart1"/>
    <dgm:cxn modelId="{BD48D6A9-56EC-48E2-94FA-68AC0E5CA2B4}" type="presOf" srcId="{AC327C1A-B96B-4A7E-B868-90E2587E1005}" destId="{6F86EF8F-0E9C-4CB8-AF4F-8023A2AD3B63}" srcOrd="1" destOrd="0" presId="urn:microsoft.com/office/officeart/2005/8/layout/orgChart1"/>
    <dgm:cxn modelId="{023F077B-23CD-462D-BA38-87DE957D971A}" type="presOf" srcId="{A52ACAB8-8762-4B8D-AFDC-2510B8975E00}" destId="{FDA1E66E-2763-406D-94CA-934C9632DC4A}" srcOrd="1" destOrd="0" presId="urn:microsoft.com/office/officeart/2005/8/layout/orgChart1"/>
    <dgm:cxn modelId="{F95EF1E5-C2A2-4E10-BAA2-999006BFB40E}" type="presOf" srcId="{7E1E79E4-798B-434D-8271-BF5435C6ABE0}" destId="{EAC9B74D-1CA1-4EBC-83C0-078E2843B3B5}" srcOrd="0" destOrd="0" presId="urn:microsoft.com/office/officeart/2005/8/layout/orgChart1"/>
    <dgm:cxn modelId="{D7EB84F9-9927-45AB-9381-1A3F60BEAF3F}" type="presOf" srcId="{B348C27F-A42A-40FE-8CC6-E83787D33DA8}" destId="{91755047-2F66-4C40-BCF6-AC51A4C3889E}" srcOrd="0" destOrd="0" presId="urn:microsoft.com/office/officeart/2005/8/layout/orgChart1"/>
    <dgm:cxn modelId="{F5240DF7-8466-46F7-84B4-5B0DA448BCC9}" type="presOf" srcId="{F68D0582-09E2-4D50-A755-411B2AEC2C2E}" destId="{C86258B9-E63A-467C-9E38-DE0DE9580C7B}" srcOrd="0" destOrd="0" presId="urn:microsoft.com/office/officeart/2005/8/layout/orgChart1"/>
    <dgm:cxn modelId="{6F4003C5-0C59-4827-8AAD-1389BB7D4D31}" type="presOf" srcId="{E22EA6E4-0FCC-4F8E-8451-12E31277B6BF}" destId="{711B3EDA-6A65-4D7E-9A7E-B9B6E966F2DD}" srcOrd="0" destOrd="0" presId="urn:microsoft.com/office/officeart/2005/8/layout/orgChart1"/>
    <dgm:cxn modelId="{784C5494-D1C1-4224-9283-1800920E12C7}" type="presOf" srcId="{80FFB25A-09B4-48B7-908C-EB8CA4794099}" destId="{61B45239-9B8C-4C7B-8811-E3B3A4529340}" srcOrd="0" destOrd="0" presId="urn:microsoft.com/office/officeart/2005/8/layout/orgChart1"/>
    <dgm:cxn modelId="{25667A06-CA80-46AB-B715-1CF7E74C3E62}" type="presOf" srcId="{75E15CF3-B167-415D-90C6-022A8DB7B393}" destId="{988C5E86-FE83-4260-B58A-164DC6334D47}" srcOrd="0" destOrd="0" presId="urn:microsoft.com/office/officeart/2005/8/layout/orgChart1"/>
    <dgm:cxn modelId="{D73F8CC3-5A1D-4D36-A46A-FFFB88A1473C}" type="presOf" srcId="{404D53D4-0FBE-4A0B-934A-D2D5429C0D40}" destId="{1FFED18D-5B81-4776-8B5D-34352D9ECF43}" srcOrd="0" destOrd="0" presId="urn:microsoft.com/office/officeart/2005/8/layout/orgChart1"/>
    <dgm:cxn modelId="{A7A4877C-8F8B-435F-B8D9-1F3F24D1684B}" type="presOf" srcId="{FB76CB6D-A726-432D-823A-5FB242AA0D8B}" destId="{5047C744-94E9-44BA-B811-F730202A24FC}" srcOrd="1" destOrd="0" presId="urn:microsoft.com/office/officeart/2005/8/layout/orgChart1"/>
    <dgm:cxn modelId="{7B1B45AC-AC5A-4492-9190-FB0729A0C468}" srcId="{AC327C1A-B96B-4A7E-B868-90E2587E1005}" destId="{C8D3EB25-C234-436B-A11A-6943EF25061F}" srcOrd="0" destOrd="0" parTransId="{4B91D6F8-33AE-467C-A1AD-A4F62655C21E}" sibTransId="{52C67DE5-3EAA-44F1-B412-22C02A1A3D08}"/>
    <dgm:cxn modelId="{23F5FA33-DF99-4A33-8F8D-BEC2F69D8A6A}" type="presOf" srcId="{6458EE75-7AE6-4D48-A69C-1CC9086EBB6C}" destId="{24F40039-EB57-41A1-9CEC-7DC50D7A275A}" srcOrd="1" destOrd="0" presId="urn:microsoft.com/office/officeart/2005/8/layout/orgChart1"/>
    <dgm:cxn modelId="{63DDD907-51BC-4ED5-B729-F3C9E692B532}" srcId="{2742F8A0-06F2-4313-9AF0-F249257AE6C5}" destId="{2B313922-1108-4D9D-9EBA-CC2C161407F7}" srcOrd="4" destOrd="0" parTransId="{9925B761-C2A7-4126-9555-A1A94FBBEC4A}" sibTransId="{86B703B3-2E39-45CF-B592-87B611749F46}"/>
    <dgm:cxn modelId="{FD2D835D-AB93-486A-81BD-708E617F689C}" type="presOf" srcId="{80FFB25A-09B4-48B7-908C-EB8CA4794099}" destId="{B5A018B9-3EF1-4307-918C-A12B8A75DE42}" srcOrd="1" destOrd="0" presId="urn:microsoft.com/office/officeart/2005/8/layout/orgChart1"/>
    <dgm:cxn modelId="{5F34805C-08F5-4871-A3D2-BDF46281BD38}" srcId="{C8D3EB25-C234-436B-A11A-6943EF25061F}" destId="{19CF3D7A-6992-451A-BE77-76A2F67C3881}" srcOrd="3" destOrd="0" parTransId="{1D44C189-94AA-4C45-AB50-FCC0B5E36732}" sibTransId="{3BF94E32-791D-4E18-BE56-87DD97E76FFD}"/>
    <dgm:cxn modelId="{B16547C2-3035-41DB-8BE3-5EA6D266ABE0}" srcId="{FB76CB6D-A726-432D-823A-5FB242AA0D8B}" destId="{7996AFFF-1469-4D3C-BFF3-2AF879BFE8CD}" srcOrd="1" destOrd="0" parTransId="{A862CB36-343B-4E05-AD28-02E74349CA9C}" sibTransId="{BF1E838B-4B43-4518-BB34-137E1CCDC8A7}"/>
    <dgm:cxn modelId="{2F9B1DC4-9AD1-45A4-A3CE-181847BE4491}" srcId="{2742F8A0-06F2-4313-9AF0-F249257AE6C5}" destId="{9BE3CD55-14F3-46E9-9E4A-9F6C61EC3619}" srcOrd="1" destOrd="0" parTransId="{F9630A15-59D2-4BF5-BFF9-DE65F169656D}" sibTransId="{4CADBD8B-33AB-4884-A20B-8B1F1462EFC1}"/>
    <dgm:cxn modelId="{BDA5C487-3B95-4A89-9468-A0F42EB1B98D}" type="presOf" srcId="{4B91D6F8-33AE-467C-A1AD-A4F62655C21E}" destId="{3883BA9B-597E-4F44-8EFC-AA13AF66BEE7}" srcOrd="0" destOrd="0" presId="urn:microsoft.com/office/officeart/2005/8/layout/orgChart1"/>
    <dgm:cxn modelId="{28298066-809B-4257-993A-333AD6C077E4}" type="presOf" srcId="{2B313922-1108-4D9D-9EBA-CC2C161407F7}" destId="{79B4F591-F952-4C3E-A9B3-5FA9BEC4FEBA}" srcOrd="0" destOrd="0" presId="urn:microsoft.com/office/officeart/2005/8/layout/orgChart1"/>
    <dgm:cxn modelId="{03C24501-7FDD-4423-B11C-ED661B3B5ED9}" type="presOf" srcId="{C8D3EB25-C234-436B-A11A-6943EF25061F}" destId="{B978CBA1-581A-49DC-B461-5A968EB6F57F}" srcOrd="0" destOrd="0" presId="urn:microsoft.com/office/officeart/2005/8/layout/orgChart1"/>
    <dgm:cxn modelId="{F0EB3CDB-8C3C-4344-96CC-7FA375C97BEF}" srcId="{2742F8A0-06F2-4313-9AF0-F249257AE6C5}" destId="{A52ACAB8-8762-4B8D-AFDC-2510B8975E00}" srcOrd="2" destOrd="0" parTransId="{CAAC6FFD-27DF-452D-A21F-534E178A4C21}" sibTransId="{41667157-CB0A-4259-9D87-6FA763F155B8}"/>
    <dgm:cxn modelId="{5612A40E-ECBC-4D01-A360-3B53EF0AE777}" type="presOf" srcId="{2671FA13-46D8-4DCB-AB38-D2BAA6060E6B}" destId="{49B7E8CF-FF38-478D-B53A-BB39ABF379F0}" srcOrd="0" destOrd="0" presId="urn:microsoft.com/office/officeart/2005/8/layout/orgChart1"/>
    <dgm:cxn modelId="{68893FD6-3111-4C32-9914-27E9B330F949}" srcId="{FB76CB6D-A726-432D-823A-5FB242AA0D8B}" destId="{F455EAEA-D336-4F4A-8020-4D0AD7032E1A}" srcOrd="5" destOrd="0" parTransId="{180A1B2F-07B0-4B41-ADFE-355767F913A4}" sibTransId="{94980EFA-C8BA-4FE6-9529-81090C32A7A8}"/>
    <dgm:cxn modelId="{6A809ADB-C045-4974-B082-26B3EDBBD578}" srcId="{FB76CB6D-A726-432D-823A-5FB242AA0D8B}" destId="{651B546E-69DF-4A95-8B93-A54A2033E6C6}" srcOrd="4" destOrd="0" parTransId="{39EDBD1B-6C12-48FF-821A-2AFFC3F84A31}" sibTransId="{0D082840-6FFB-4CDA-8D84-27136C216410}"/>
    <dgm:cxn modelId="{F05B0C97-B403-425C-8B06-3F87E96C67C0}" srcId="{2742F8A0-06F2-4313-9AF0-F249257AE6C5}" destId="{99049C2A-CFB1-4CF4-A513-E7D7C0F51272}" srcOrd="3" destOrd="0" parTransId="{2671FA13-46D8-4DCB-AB38-D2BAA6060E6B}" sibTransId="{5CD77CB0-4505-49D7-B255-629C0361217C}"/>
    <dgm:cxn modelId="{F067223A-4315-4CE7-BEFD-F670514B2631}" type="presOf" srcId="{42E52D28-3B65-4014-B6A9-79129902F34B}" destId="{00C5C967-E72F-4113-A079-2B07C7E0A06E}" srcOrd="0" destOrd="0" presId="urn:microsoft.com/office/officeart/2005/8/layout/orgChart1"/>
    <dgm:cxn modelId="{3E68682D-9308-4089-BF7B-43A674B352DB}" type="presParOf" srcId="{7C6E67D4-6AC1-4E43-9301-0D35A77CF747}" destId="{74C09711-C89D-4CB7-A46A-3422D68D90DB}" srcOrd="0" destOrd="0" presId="urn:microsoft.com/office/officeart/2005/8/layout/orgChart1"/>
    <dgm:cxn modelId="{F72FA06B-4B65-4247-9F0B-E4CC9D5791F1}" type="presParOf" srcId="{74C09711-C89D-4CB7-A46A-3422D68D90DB}" destId="{8E8D4FBB-8EF3-46AA-BF53-8A5811A7012E}" srcOrd="0" destOrd="0" presId="urn:microsoft.com/office/officeart/2005/8/layout/orgChart1"/>
    <dgm:cxn modelId="{D66E9DE3-8AD3-4FD3-9675-61330941D985}" type="presParOf" srcId="{8E8D4FBB-8EF3-46AA-BF53-8A5811A7012E}" destId="{32731F0C-E48A-443E-A7DD-3A36340093DB}" srcOrd="0" destOrd="0" presId="urn:microsoft.com/office/officeart/2005/8/layout/orgChart1"/>
    <dgm:cxn modelId="{2194677F-88F7-441D-858F-23A4982F62A4}" type="presParOf" srcId="{8E8D4FBB-8EF3-46AA-BF53-8A5811A7012E}" destId="{6F86EF8F-0E9C-4CB8-AF4F-8023A2AD3B63}" srcOrd="1" destOrd="0" presId="urn:microsoft.com/office/officeart/2005/8/layout/orgChart1"/>
    <dgm:cxn modelId="{63FF7008-1585-4EAA-A027-326C5A2C1F6C}" type="presParOf" srcId="{74C09711-C89D-4CB7-A46A-3422D68D90DB}" destId="{A21D9CAB-ABAE-42B6-BA1C-56F97FE2C9AD}" srcOrd="1" destOrd="0" presId="urn:microsoft.com/office/officeart/2005/8/layout/orgChart1"/>
    <dgm:cxn modelId="{BB7AF5C7-B237-4FCD-B63E-999D4D4E09D8}" type="presParOf" srcId="{A21D9CAB-ABAE-42B6-BA1C-56F97FE2C9AD}" destId="{3883BA9B-597E-4F44-8EFC-AA13AF66BEE7}" srcOrd="0" destOrd="0" presId="urn:microsoft.com/office/officeart/2005/8/layout/orgChart1"/>
    <dgm:cxn modelId="{B65EB849-5D63-464C-B0A6-BF15629CF01A}" type="presParOf" srcId="{A21D9CAB-ABAE-42B6-BA1C-56F97FE2C9AD}" destId="{1E3B6881-A474-40F7-8102-34200022B165}" srcOrd="1" destOrd="0" presId="urn:microsoft.com/office/officeart/2005/8/layout/orgChart1"/>
    <dgm:cxn modelId="{A54B1E99-36F9-4F55-96C2-B4304AF9C3BF}" type="presParOf" srcId="{1E3B6881-A474-40F7-8102-34200022B165}" destId="{463D559B-63E0-4B6A-9A77-2100F688CFCA}" srcOrd="0" destOrd="0" presId="urn:microsoft.com/office/officeart/2005/8/layout/orgChart1"/>
    <dgm:cxn modelId="{0132EE9A-DE0B-4492-A551-5F698303887A}" type="presParOf" srcId="{463D559B-63E0-4B6A-9A77-2100F688CFCA}" destId="{B978CBA1-581A-49DC-B461-5A968EB6F57F}" srcOrd="0" destOrd="0" presId="urn:microsoft.com/office/officeart/2005/8/layout/orgChart1"/>
    <dgm:cxn modelId="{A4DB12CA-798F-451A-971E-7260C9B28D82}" type="presParOf" srcId="{463D559B-63E0-4B6A-9A77-2100F688CFCA}" destId="{9197C122-9D7D-4713-BCAA-58A3D2892699}" srcOrd="1" destOrd="0" presId="urn:microsoft.com/office/officeart/2005/8/layout/orgChart1"/>
    <dgm:cxn modelId="{459F4FC4-DC23-46D3-B5B3-B3DD2C21D60E}" type="presParOf" srcId="{1E3B6881-A474-40F7-8102-34200022B165}" destId="{7AA98BD9-F19F-4BB9-99DC-C7DF6D5BDBC7}" srcOrd="1" destOrd="0" presId="urn:microsoft.com/office/officeart/2005/8/layout/orgChart1"/>
    <dgm:cxn modelId="{288D3A07-ED41-457D-8033-1E364F6494A8}" type="presParOf" srcId="{7AA98BD9-F19F-4BB9-99DC-C7DF6D5BDBC7}" destId="{988C5E86-FE83-4260-B58A-164DC6334D47}" srcOrd="0" destOrd="0" presId="urn:microsoft.com/office/officeart/2005/8/layout/orgChart1"/>
    <dgm:cxn modelId="{05A6E8B5-459E-40C9-9E80-680922C92D4B}" type="presParOf" srcId="{7AA98BD9-F19F-4BB9-99DC-C7DF6D5BDBC7}" destId="{31BE7539-DB96-4681-8FC4-B9DA00BFB171}" srcOrd="1" destOrd="0" presId="urn:microsoft.com/office/officeart/2005/8/layout/orgChart1"/>
    <dgm:cxn modelId="{B3A6A6BB-9C89-4CBE-841B-58F005C7824C}" type="presParOf" srcId="{31BE7539-DB96-4681-8FC4-B9DA00BFB171}" destId="{0E82EE34-6571-492E-83BE-D9B4540DD3F7}" srcOrd="0" destOrd="0" presId="urn:microsoft.com/office/officeart/2005/8/layout/orgChart1"/>
    <dgm:cxn modelId="{53E69E62-40E3-4139-9EB5-CB1DF8A586AB}" type="presParOf" srcId="{0E82EE34-6571-492E-83BE-D9B4540DD3F7}" destId="{61B45239-9B8C-4C7B-8811-E3B3A4529340}" srcOrd="0" destOrd="0" presId="urn:microsoft.com/office/officeart/2005/8/layout/orgChart1"/>
    <dgm:cxn modelId="{6F4742A9-4EA0-4998-A2C7-0E2DE59AAB74}" type="presParOf" srcId="{0E82EE34-6571-492E-83BE-D9B4540DD3F7}" destId="{B5A018B9-3EF1-4307-918C-A12B8A75DE42}" srcOrd="1" destOrd="0" presId="urn:microsoft.com/office/officeart/2005/8/layout/orgChart1"/>
    <dgm:cxn modelId="{0A910D69-6474-4A87-B8E0-9CCC00755A13}" type="presParOf" srcId="{31BE7539-DB96-4681-8FC4-B9DA00BFB171}" destId="{EE0A0BCC-8AFE-4B2A-B36B-F2CEDA2F5E81}" srcOrd="1" destOrd="0" presId="urn:microsoft.com/office/officeart/2005/8/layout/orgChart1"/>
    <dgm:cxn modelId="{4E294D9D-3FAC-45A4-93A9-48FBD850E2B3}" type="presParOf" srcId="{31BE7539-DB96-4681-8FC4-B9DA00BFB171}" destId="{757D70EC-6EAC-41CC-835B-6777D6E19AD1}" srcOrd="2" destOrd="0" presId="urn:microsoft.com/office/officeart/2005/8/layout/orgChart1"/>
    <dgm:cxn modelId="{7CDF3604-4DA7-4C42-A97A-0477F8E18B5D}" type="presParOf" srcId="{7AA98BD9-F19F-4BB9-99DC-C7DF6D5BDBC7}" destId="{3C72897F-5BD9-4130-BF92-DF7528B917CB}" srcOrd="2" destOrd="0" presId="urn:microsoft.com/office/officeart/2005/8/layout/orgChart1"/>
    <dgm:cxn modelId="{E135D7DC-2BB3-4D16-9B69-51935EE67F12}" type="presParOf" srcId="{7AA98BD9-F19F-4BB9-99DC-C7DF6D5BDBC7}" destId="{CC95C5F4-1E6A-4F8F-9A5E-9664F0BBABBC}" srcOrd="3" destOrd="0" presId="urn:microsoft.com/office/officeart/2005/8/layout/orgChart1"/>
    <dgm:cxn modelId="{055E5B13-A694-4F09-B76A-B3811D75875E}" type="presParOf" srcId="{CC95C5F4-1E6A-4F8F-9A5E-9664F0BBABBC}" destId="{0CF74209-6543-42CF-A78B-71F914FAF4C6}" srcOrd="0" destOrd="0" presId="urn:microsoft.com/office/officeart/2005/8/layout/orgChart1"/>
    <dgm:cxn modelId="{087FC04D-488D-4E63-A6E0-3BEBF9DBCD6C}" type="presParOf" srcId="{0CF74209-6543-42CF-A78B-71F914FAF4C6}" destId="{1FFED18D-5B81-4776-8B5D-34352D9ECF43}" srcOrd="0" destOrd="0" presId="urn:microsoft.com/office/officeart/2005/8/layout/orgChart1"/>
    <dgm:cxn modelId="{FE90DB2C-30B6-424D-88BD-8F3932D22E96}" type="presParOf" srcId="{0CF74209-6543-42CF-A78B-71F914FAF4C6}" destId="{CEB260A4-FE2E-4169-845E-55B49ACABD06}" srcOrd="1" destOrd="0" presId="urn:microsoft.com/office/officeart/2005/8/layout/orgChart1"/>
    <dgm:cxn modelId="{72DE8F05-534B-4035-9735-F4641550CF59}" type="presParOf" srcId="{CC95C5F4-1E6A-4F8F-9A5E-9664F0BBABBC}" destId="{7EBE1C86-8298-40AC-B994-D13FF8EAEFA6}" srcOrd="1" destOrd="0" presId="urn:microsoft.com/office/officeart/2005/8/layout/orgChart1"/>
    <dgm:cxn modelId="{9505B9BA-06FD-4F56-A419-933F8BCF1080}" type="presParOf" srcId="{CC95C5F4-1E6A-4F8F-9A5E-9664F0BBABBC}" destId="{EE1ABB6C-DFC2-46FE-A628-5DD6072295C2}" srcOrd="2" destOrd="0" presId="urn:microsoft.com/office/officeart/2005/8/layout/orgChart1"/>
    <dgm:cxn modelId="{CF2D7729-17AF-4F39-B56A-D938FB974046}" type="presParOf" srcId="{7AA98BD9-F19F-4BB9-99DC-C7DF6D5BDBC7}" destId="{2A398801-E279-44BB-A27F-6D37AD7735DF}" srcOrd="4" destOrd="0" presId="urn:microsoft.com/office/officeart/2005/8/layout/orgChart1"/>
    <dgm:cxn modelId="{42A737BE-9343-4414-BB91-C415AB4CD9CC}" type="presParOf" srcId="{7AA98BD9-F19F-4BB9-99DC-C7DF6D5BDBC7}" destId="{025ECBCB-1231-4438-BE70-5F83C6FE4FB0}" srcOrd="5" destOrd="0" presId="urn:microsoft.com/office/officeart/2005/8/layout/orgChart1"/>
    <dgm:cxn modelId="{EDC19EB1-561D-4B2D-829A-3BE4876C5A47}" type="presParOf" srcId="{025ECBCB-1231-4438-BE70-5F83C6FE4FB0}" destId="{EF9E5EB5-85A6-413B-9D1C-FFCE65242CAC}" srcOrd="0" destOrd="0" presId="urn:microsoft.com/office/officeart/2005/8/layout/orgChart1"/>
    <dgm:cxn modelId="{7BC3A802-ACE3-447E-AD4B-3FB295481108}" type="presParOf" srcId="{EF9E5EB5-85A6-413B-9D1C-FFCE65242CAC}" destId="{8F2AF958-9140-4320-A824-64026F258D6A}" srcOrd="0" destOrd="0" presId="urn:microsoft.com/office/officeart/2005/8/layout/orgChart1"/>
    <dgm:cxn modelId="{C36772A6-53CC-4F36-8A7A-1E493C7CC7E2}" type="presParOf" srcId="{EF9E5EB5-85A6-413B-9D1C-FFCE65242CAC}" destId="{978915EC-CA8E-482C-AFBC-9074B9E2CA31}" srcOrd="1" destOrd="0" presId="urn:microsoft.com/office/officeart/2005/8/layout/orgChart1"/>
    <dgm:cxn modelId="{40D12130-2DD2-4A16-9AB5-56EE0DCB0D4F}" type="presParOf" srcId="{025ECBCB-1231-4438-BE70-5F83C6FE4FB0}" destId="{4FE78952-0A0A-4499-B0F6-7CD9B40CB8F5}" srcOrd="1" destOrd="0" presId="urn:microsoft.com/office/officeart/2005/8/layout/orgChart1"/>
    <dgm:cxn modelId="{CDE6C2C9-8845-41ED-9445-597187CD58E7}" type="presParOf" srcId="{025ECBCB-1231-4438-BE70-5F83C6FE4FB0}" destId="{D5913910-433A-4AFF-9186-526D53EAF18F}" srcOrd="2" destOrd="0" presId="urn:microsoft.com/office/officeart/2005/8/layout/orgChart1"/>
    <dgm:cxn modelId="{43C4B1AE-E12A-4DA7-9119-5E792E56CCB0}" type="presParOf" srcId="{7AA98BD9-F19F-4BB9-99DC-C7DF6D5BDBC7}" destId="{BAEF9329-46EC-4952-B04D-97AF7F9C31D1}" srcOrd="6" destOrd="0" presId="urn:microsoft.com/office/officeart/2005/8/layout/orgChart1"/>
    <dgm:cxn modelId="{93F7E76D-CAB3-4D3C-BD38-94941EB07782}" type="presParOf" srcId="{7AA98BD9-F19F-4BB9-99DC-C7DF6D5BDBC7}" destId="{A16625BA-10E8-42D4-8916-9FDE1B6F0CDB}" srcOrd="7" destOrd="0" presId="urn:microsoft.com/office/officeart/2005/8/layout/orgChart1"/>
    <dgm:cxn modelId="{7D05C744-395F-4037-B262-84909B839BCC}" type="presParOf" srcId="{A16625BA-10E8-42D4-8916-9FDE1B6F0CDB}" destId="{FBEB854B-52BA-4E0C-9916-2D3410737388}" srcOrd="0" destOrd="0" presId="urn:microsoft.com/office/officeart/2005/8/layout/orgChart1"/>
    <dgm:cxn modelId="{FEC7B86A-374E-4477-8371-B9BF7C07A334}" type="presParOf" srcId="{FBEB854B-52BA-4E0C-9916-2D3410737388}" destId="{FCCED5AC-901C-468E-BE5E-51EAE1D16113}" srcOrd="0" destOrd="0" presId="urn:microsoft.com/office/officeart/2005/8/layout/orgChart1"/>
    <dgm:cxn modelId="{7C06F248-3340-45AF-B798-86B784ED28AB}" type="presParOf" srcId="{FBEB854B-52BA-4E0C-9916-2D3410737388}" destId="{AB423975-2097-4774-97EF-9D775A0C2CA2}" srcOrd="1" destOrd="0" presId="urn:microsoft.com/office/officeart/2005/8/layout/orgChart1"/>
    <dgm:cxn modelId="{56819836-4CB3-46CF-8E3D-C0AA7CC69B44}" type="presParOf" srcId="{A16625BA-10E8-42D4-8916-9FDE1B6F0CDB}" destId="{0BA9C501-FA53-4488-9A9C-6E45678A9BD6}" srcOrd="1" destOrd="0" presId="urn:microsoft.com/office/officeart/2005/8/layout/orgChart1"/>
    <dgm:cxn modelId="{51AD8289-9A45-4063-A74D-001BAD833630}" type="presParOf" srcId="{A16625BA-10E8-42D4-8916-9FDE1B6F0CDB}" destId="{090CE579-6577-4220-8C13-1192B4496894}" srcOrd="2" destOrd="0" presId="urn:microsoft.com/office/officeart/2005/8/layout/orgChart1"/>
    <dgm:cxn modelId="{CDA23C49-15D2-4713-9C65-C8DAB08DD24E}" type="presParOf" srcId="{1E3B6881-A474-40F7-8102-34200022B165}" destId="{77595EB0-5C3E-4083-804F-81CB7C26A7F1}" srcOrd="2" destOrd="0" presId="urn:microsoft.com/office/officeart/2005/8/layout/orgChart1"/>
    <dgm:cxn modelId="{AF300CB1-92D8-4839-8CDD-A29707274E1A}" type="presParOf" srcId="{A21D9CAB-ABAE-42B6-BA1C-56F97FE2C9AD}" destId="{5CD51581-9CD5-4639-8F35-12F8BC45E168}" srcOrd="2" destOrd="0" presId="urn:microsoft.com/office/officeart/2005/8/layout/orgChart1"/>
    <dgm:cxn modelId="{0A14E071-B92C-428A-BC0C-C54F6F718985}" type="presParOf" srcId="{A21D9CAB-ABAE-42B6-BA1C-56F97FE2C9AD}" destId="{E0001A89-C05A-477F-8250-68988BB0415F}" srcOrd="3" destOrd="0" presId="urn:microsoft.com/office/officeart/2005/8/layout/orgChart1"/>
    <dgm:cxn modelId="{3F5D07F7-0DD8-4084-A770-08777429100F}" type="presParOf" srcId="{E0001A89-C05A-477F-8250-68988BB0415F}" destId="{34FA4E00-4FD7-4D6A-B127-E2100E31CF97}" srcOrd="0" destOrd="0" presId="urn:microsoft.com/office/officeart/2005/8/layout/orgChart1"/>
    <dgm:cxn modelId="{72A28083-8FE4-4FCE-A0B0-A53196E3E4F1}" type="presParOf" srcId="{34FA4E00-4FD7-4D6A-B127-E2100E31CF97}" destId="{08E2F819-04B3-48B9-B3D3-77E01ECDA6CF}" srcOrd="0" destOrd="0" presId="urn:microsoft.com/office/officeart/2005/8/layout/orgChart1"/>
    <dgm:cxn modelId="{5D72B9BB-A136-475A-95F3-076D5F1EBACF}" type="presParOf" srcId="{34FA4E00-4FD7-4D6A-B127-E2100E31CF97}" destId="{5047C744-94E9-44BA-B811-F730202A24FC}" srcOrd="1" destOrd="0" presId="urn:microsoft.com/office/officeart/2005/8/layout/orgChart1"/>
    <dgm:cxn modelId="{C04EC878-2027-4497-A771-67714D7F91E1}" type="presParOf" srcId="{E0001A89-C05A-477F-8250-68988BB0415F}" destId="{910C3571-BE0D-4CB3-AC93-9EE321B2A0D7}" srcOrd="1" destOrd="0" presId="urn:microsoft.com/office/officeart/2005/8/layout/orgChart1"/>
    <dgm:cxn modelId="{4FCF1517-ACB0-4631-92AD-476105F542C8}" type="presParOf" srcId="{910C3571-BE0D-4CB3-AC93-9EE321B2A0D7}" destId="{E82045EE-7760-48C9-A318-96E632D7EFE5}" srcOrd="0" destOrd="0" presId="urn:microsoft.com/office/officeart/2005/8/layout/orgChart1"/>
    <dgm:cxn modelId="{5D7F20CF-A379-49A4-BD60-83C9E2F7B8D1}" type="presParOf" srcId="{910C3571-BE0D-4CB3-AC93-9EE321B2A0D7}" destId="{AB3EAE37-7D1B-4631-8945-83B3EC5C5F0B}" srcOrd="1" destOrd="0" presId="urn:microsoft.com/office/officeart/2005/8/layout/orgChart1"/>
    <dgm:cxn modelId="{BAC7CA49-A2D3-49EE-B797-0612982C6058}" type="presParOf" srcId="{AB3EAE37-7D1B-4631-8945-83B3EC5C5F0B}" destId="{07481ECB-3FC6-4C2E-BAD6-9E63E4CCDD23}" srcOrd="0" destOrd="0" presId="urn:microsoft.com/office/officeart/2005/8/layout/orgChart1"/>
    <dgm:cxn modelId="{FAA612D3-87E7-46F2-A2F7-B108EC7EB928}" type="presParOf" srcId="{07481ECB-3FC6-4C2E-BAD6-9E63E4CCDD23}" destId="{14584F89-E045-4C25-B31B-87A29C7D412D}" srcOrd="0" destOrd="0" presId="urn:microsoft.com/office/officeart/2005/8/layout/orgChart1"/>
    <dgm:cxn modelId="{5EBCDE9E-0069-422E-AE46-3C52CBB48D13}" type="presParOf" srcId="{07481ECB-3FC6-4C2E-BAD6-9E63E4CCDD23}" destId="{24F40039-EB57-41A1-9CEC-7DC50D7A275A}" srcOrd="1" destOrd="0" presId="urn:microsoft.com/office/officeart/2005/8/layout/orgChart1"/>
    <dgm:cxn modelId="{B8FB1365-7F24-42B1-B725-B7FAD606C3FC}" type="presParOf" srcId="{AB3EAE37-7D1B-4631-8945-83B3EC5C5F0B}" destId="{BC1EECCC-F5B4-40C6-AFCF-7A52D867FFFB}" srcOrd="1" destOrd="0" presId="urn:microsoft.com/office/officeart/2005/8/layout/orgChart1"/>
    <dgm:cxn modelId="{92A8F79A-E346-4AD4-841F-7032F979CF2A}" type="presParOf" srcId="{AB3EAE37-7D1B-4631-8945-83B3EC5C5F0B}" destId="{0D20F738-212B-4F93-B895-2144B28B612E}" srcOrd="2" destOrd="0" presId="urn:microsoft.com/office/officeart/2005/8/layout/orgChart1"/>
    <dgm:cxn modelId="{4EB0B3A9-18B7-43BE-879C-44355A1421F1}" type="presParOf" srcId="{910C3571-BE0D-4CB3-AC93-9EE321B2A0D7}" destId="{78260B77-E011-4DCA-A254-A91C9B463480}" srcOrd="2" destOrd="0" presId="urn:microsoft.com/office/officeart/2005/8/layout/orgChart1"/>
    <dgm:cxn modelId="{C4C4A891-CC9E-49DD-AED7-0C5904E57D35}" type="presParOf" srcId="{910C3571-BE0D-4CB3-AC93-9EE321B2A0D7}" destId="{56F861D4-CC53-4970-89E7-9469B3D68B5E}" srcOrd="3" destOrd="0" presId="urn:microsoft.com/office/officeart/2005/8/layout/orgChart1"/>
    <dgm:cxn modelId="{4FA5610D-A4CF-4CD3-A47D-606F1C0FF871}" type="presParOf" srcId="{56F861D4-CC53-4970-89E7-9469B3D68B5E}" destId="{EAC99EC9-9DEF-421E-B1B8-AC3A20043D7E}" srcOrd="0" destOrd="0" presId="urn:microsoft.com/office/officeart/2005/8/layout/orgChart1"/>
    <dgm:cxn modelId="{A84E50CB-4D98-4BC7-A227-B26D4F86804A}" type="presParOf" srcId="{EAC99EC9-9DEF-421E-B1B8-AC3A20043D7E}" destId="{5517D4BB-07A9-4563-90A8-388EEA13409F}" srcOrd="0" destOrd="0" presId="urn:microsoft.com/office/officeart/2005/8/layout/orgChart1"/>
    <dgm:cxn modelId="{AFEDC997-7648-4218-8585-9829FAEE229A}" type="presParOf" srcId="{EAC99EC9-9DEF-421E-B1B8-AC3A20043D7E}" destId="{4845083F-1A56-4120-BB9B-EAC98F69AFD0}" srcOrd="1" destOrd="0" presId="urn:microsoft.com/office/officeart/2005/8/layout/orgChart1"/>
    <dgm:cxn modelId="{65FDC71D-3827-4D42-9F53-3F44FEF373DD}" type="presParOf" srcId="{56F861D4-CC53-4970-89E7-9469B3D68B5E}" destId="{6E358EFB-E9B5-4CBD-BDC9-81964E881A40}" srcOrd="1" destOrd="0" presId="urn:microsoft.com/office/officeart/2005/8/layout/orgChart1"/>
    <dgm:cxn modelId="{128E6E2B-727B-416C-A38C-9344793776B6}" type="presParOf" srcId="{56F861D4-CC53-4970-89E7-9469B3D68B5E}" destId="{DC5694A1-AAE7-4B65-A2FD-3DAB1F63EE71}" srcOrd="2" destOrd="0" presId="urn:microsoft.com/office/officeart/2005/8/layout/orgChart1"/>
    <dgm:cxn modelId="{3CEF612C-9716-4730-BA28-2C9D7E88CC17}" type="presParOf" srcId="{910C3571-BE0D-4CB3-AC93-9EE321B2A0D7}" destId="{91755047-2F66-4C40-BCF6-AC51A4C3889E}" srcOrd="4" destOrd="0" presId="urn:microsoft.com/office/officeart/2005/8/layout/orgChart1"/>
    <dgm:cxn modelId="{7B48486A-1E42-4C77-AE83-E5181CEFAA5A}" type="presParOf" srcId="{910C3571-BE0D-4CB3-AC93-9EE321B2A0D7}" destId="{B6D98B0A-AD83-4B59-B5FD-E0EDB2EEDF1E}" srcOrd="5" destOrd="0" presId="urn:microsoft.com/office/officeart/2005/8/layout/orgChart1"/>
    <dgm:cxn modelId="{9AB6D614-204A-483C-9593-CA51355C1101}" type="presParOf" srcId="{B6D98B0A-AD83-4B59-B5FD-E0EDB2EEDF1E}" destId="{4E402DB0-4789-4BEA-93D5-3074D9289A00}" srcOrd="0" destOrd="0" presId="urn:microsoft.com/office/officeart/2005/8/layout/orgChart1"/>
    <dgm:cxn modelId="{45FB395C-B3BD-45BE-9952-921193053DB4}" type="presParOf" srcId="{4E402DB0-4789-4BEA-93D5-3074D9289A00}" destId="{711B3EDA-6A65-4D7E-9A7E-B9B6E966F2DD}" srcOrd="0" destOrd="0" presId="urn:microsoft.com/office/officeart/2005/8/layout/orgChart1"/>
    <dgm:cxn modelId="{2ECF45DB-4A3A-488E-8142-85969B06079D}" type="presParOf" srcId="{4E402DB0-4789-4BEA-93D5-3074D9289A00}" destId="{EA7FD5D8-99F3-4924-9986-A495F8BD09AE}" srcOrd="1" destOrd="0" presId="urn:microsoft.com/office/officeart/2005/8/layout/orgChart1"/>
    <dgm:cxn modelId="{04C97BCC-91CB-4612-A95E-AB715BC4E464}" type="presParOf" srcId="{B6D98B0A-AD83-4B59-B5FD-E0EDB2EEDF1E}" destId="{6A62F178-207E-4B98-B89B-19939A7265C2}" srcOrd="1" destOrd="0" presId="urn:microsoft.com/office/officeart/2005/8/layout/orgChart1"/>
    <dgm:cxn modelId="{2B43B67D-80E2-422D-8FBB-43B16F755F3B}" type="presParOf" srcId="{B6D98B0A-AD83-4B59-B5FD-E0EDB2EEDF1E}" destId="{A2A037AC-8909-41C9-88C9-D38BCC7F891B}" srcOrd="2" destOrd="0" presId="urn:microsoft.com/office/officeart/2005/8/layout/orgChart1"/>
    <dgm:cxn modelId="{8551AD2C-3F15-4AF3-AD10-B62A53160F7E}" type="presParOf" srcId="{910C3571-BE0D-4CB3-AC93-9EE321B2A0D7}" destId="{C86258B9-E63A-467C-9E38-DE0DE9580C7B}" srcOrd="6" destOrd="0" presId="urn:microsoft.com/office/officeart/2005/8/layout/orgChart1"/>
    <dgm:cxn modelId="{18821782-09BB-4497-8298-CC919C129F0F}" type="presParOf" srcId="{910C3571-BE0D-4CB3-AC93-9EE321B2A0D7}" destId="{A380263A-53C3-4998-AF00-168672E0D59C}" srcOrd="7" destOrd="0" presId="urn:microsoft.com/office/officeart/2005/8/layout/orgChart1"/>
    <dgm:cxn modelId="{06EA4214-7754-422F-A101-39D6BA6F97FF}" type="presParOf" srcId="{A380263A-53C3-4998-AF00-168672E0D59C}" destId="{4F003540-DEE9-4A0A-A443-73432B6DBFA2}" srcOrd="0" destOrd="0" presId="urn:microsoft.com/office/officeart/2005/8/layout/orgChart1"/>
    <dgm:cxn modelId="{42689954-9B42-44B1-955D-4924AFDD25E9}" type="presParOf" srcId="{4F003540-DEE9-4A0A-A443-73432B6DBFA2}" destId="{086E3204-DECF-485D-8DE2-49A7B7D4B738}" srcOrd="0" destOrd="0" presId="urn:microsoft.com/office/officeart/2005/8/layout/orgChart1"/>
    <dgm:cxn modelId="{9360F5B5-3215-41B3-B944-AF2E0ED6CAEE}" type="presParOf" srcId="{4F003540-DEE9-4A0A-A443-73432B6DBFA2}" destId="{0472DCD2-60C8-4E9A-B079-4604CC433E4D}" srcOrd="1" destOrd="0" presId="urn:microsoft.com/office/officeart/2005/8/layout/orgChart1"/>
    <dgm:cxn modelId="{0C7B6143-6EB0-480E-91A8-AE156BA78C11}" type="presParOf" srcId="{A380263A-53C3-4998-AF00-168672E0D59C}" destId="{775E8E5E-8C0C-4810-8AA0-C7ABA00554A5}" srcOrd="1" destOrd="0" presId="urn:microsoft.com/office/officeart/2005/8/layout/orgChart1"/>
    <dgm:cxn modelId="{4B1B2BAC-D3CC-4536-8AB0-094BF27EAE0D}" type="presParOf" srcId="{A380263A-53C3-4998-AF00-168672E0D59C}" destId="{2F451687-8066-4764-921F-D2137FD84F98}" srcOrd="2" destOrd="0" presId="urn:microsoft.com/office/officeart/2005/8/layout/orgChart1"/>
    <dgm:cxn modelId="{1975A7FF-3DE1-40BD-ADCA-AD0054410FA5}" type="presParOf" srcId="{910C3571-BE0D-4CB3-AC93-9EE321B2A0D7}" destId="{28EF93C1-F7AF-4101-8EC6-BD56B086526F}" srcOrd="8" destOrd="0" presId="urn:microsoft.com/office/officeart/2005/8/layout/orgChart1"/>
    <dgm:cxn modelId="{131466F0-75CD-4201-BD58-1E254C0C8086}" type="presParOf" srcId="{910C3571-BE0D-4CB3-AC93-9EE321B2A0D7}" destId="{AF21E0FC-C14A-4C95-9FFB-966741E7B681}" srcOrd="9" destOrd="0" presId="urn:microsoft.com/office/officeart/2005/8/layout/orgChart1"/>
    <dgm:cxn modelId="{87641478-0EDA-43DF-9D33-B5C512A30943}" type="presParOf" srcId="{AF21E0FC-C14A-4C95-9FFB-966741E7B681}" destId="{A8C41DB0-CCA9-4F3A-A8D5-C98D55DBBD6D}" srcOrd="0" destOrd="0" presId="urn:microsoft.com/office/officeart/2005/8/layout/orgChart1"/>
    <dgm:cxn modelId="{1E546A28-8DBD-4563-83A0-F0509A4289E4}" type="presParOf" srcId="{A8C41DB0-CCA9-4F3A-A8D5-C98D55DBBD6D}" destId="{4E139D75-FC17-4BAF-A8C1-44609F7B5CD8}" srcOrd="0" destOrd="0" presId="urn:microsoft.com/office/officeart/2005/8/layout/orgChart1"/>
    <dgm:cxn modelId="{2A5AEEF4-0A8C-49EC-A05E-104538CE39F3}" type="presParOf" srcId="{A8C41DB0-CCA9-4F3A-A8D5-C98D55DBBD6D}" destId="{C8994CC0-9F99-46E1-82E9-AE3947781F1C}" srcOrd="1" destOrd="0" presId="urn:microsoft.com/office/officeart/2005/8/layout/orgChart1"/>
    <dgm:cxn modelId="{A607761E-C913-4FD7-A95C-D4853B15EFD8}" type="presParOf" srcId="{AF21E0FC-C14A-4C95-9FFB-966741E7B681}" destId="{3D867D0F-4512-42F4-B364-DD0F1E4D3787}" srcOrd="1" destOrd="0" presId="urn:microsoft.com/office/officeart/2005/8/layout/orgChart1"/>
    <dgm:cxn modelId="{A0FC2D82-9138-46C6-ABB6-15698A81E0EB}" type="presParOf" srcId="{AF21E0FC-C14A-4C95-9FFB-966741E7B681}" destId="{4806D409-F91E-4AFE-904D-78E5A7B2EE66}" srcOrd="2" destOrd="0" presId="urn:microsoft.com/office/officeart/2005/8/layout/orgChart1"/>
    <dgm:cxn modelId="{33D21EC9-7F52-47B9-B548-D6E1AD6C302D}" type="presParOf" srcId="{910C3571-BE0D-4CB3-AC93-9EE321B2A0D7}" destId="{610CCB8A-424D-4058-B89A-E54E99A9F82C}" srcOrd="10" destOrd="0" presId="urn:microsoft.com/office/officeart/2005/8/layout/orgChart1"/>
    <dgm:cxn modelId="{E37C658F-D560-44B9-A78C-421E127AF43B}" type="presParOf" srcId="{910C3571-BE0D-4CB3-AC93-9EE321B2A0D7}" destId="{54AEAFAC-219B-46E9-9303-4F7B3AE2642A}" srcOrd="11" destOrd="0" presId="urn:microsoft.com/office/officeart/2005/8/layout/orgChart1"/>
    <dgm:cxn modelId="{58C66FEC-3100-4DA8-8046-1649B7E9D839}" type="presParOf" srcId="{54AEAFAC-219B-46E9-9303-4F7B3AE2642A}" destId="{D05B35DF-2DC3-4BE4-BF6C-DBD52C36F2AC}" srcOrd="0" destOrd="0" presId="urn:microsoft.com/office/officeart/2005/8/layout/orgChart1"/>
    <dgm:cxn modelId="{0EB5FD4B-52F9-4035-A75A-65162D76BC03}" type="presParOf" srcId="{D05B35DF-2DC3-4BE4-BF6C-DBD52C36F2AC}" destId="{69979909-E26B-4D9B-BD22-DEBD3077CB2C}" srcOrd="0" destOrd="0" presId="urn:microsoft.com/office/officeart/2005/8/layout/orgChart1"/>
    <dgm:cxn modelId="{D379B86B-AEFE-4104-BBB9-8D5199B13FD6}" type="presParOf" srcId="{D05B35DF-2DC3-4BE4-BF6C-DBD52C36F2AC}" destId="{E3302BFF-F1BD-4548-A12E-B5500A0C1ECC}" srcOrd="1" destOrd="0" presId="urn:microsoft.com/office/officeart/2005/8/layout/orgChart1"/>
    <dgm:cxn modelId="{70F18857-B4D8-4127-921D-C8E7DCB7D797}" type="presParOf" srcId="{54AEAFAC-219B-46E9-9303-4F7B3AE2642A}" destId="{D35234A4-94D3-4B4D-9FA8-9516B4DA7369}" srcOrd="1" destOrd="0" presId="urn:microsoft.com/office/officeart/2005/8/layout/orgChart1"/>
    <dgm:cxn modelId="{EE76FB8D-DEDD-4D70-9673-D2747A6EDD58}" type="presParOf" srcId="{54AEAFAC-219B-46E9-9303-4F7B3AE2642A}" destId="{64829F37-2426-41EE-959E-4477D6C6D4AD}" srcOrd="2" destOrd="0" presId="urn:microsoft.com/office/officeart/2005/8/layout/orgChart1"/>
    <dgm:cxn modelId="{E5F6D73A-72E5-4C29-A630-C69C44EE10EA}" type="presParOf" srcId="{E0001A89-C05A-477F-8250-68988BB0415F}" destId="{F5FACF50-2229-4EC5-9DE7-D6B07C0E1DD4}" srcOrd="2" destOrd="0" presId="urn:microsoft.com/office/officeart/2005/8/layout/orgChart1"/>
    <dgm:cxn modelId="{DE1A6196-A9CC-498A-AFF8-22588CB3654F}" type="presParOf" srcId="{A21D9CAB-ABAE-42B6-BA1C-56F97FE2C9AD}" destId="{5DC9774D-A514-45F9-B665-44FF6153CBC8}" srcOrd="4" destOrd="0" presId="urn:microsoft.com/office/officeart/2005/8/layout/orgChart1"/>
    <dgm:cxn modelId="{24C0ED13-B0D2-45A4-9D91-04D31610D2C0}" type="presParOf" srcId="{A21D9CAB-ABAE-42B6-BA1C-56F97FE2C9AD}" destId="{7BBB9EA9-E9C9-43AB-947A-DEEC62EA6EE0}" srcOrd="5" destOrd="0" presId="urn:microsoft.com/office/officeart/2005/8/layout/orgChart1"/>
    <dgm:cxn modelId="{257BFCE4-4433-4E44-9F13-96351E3C77AD}" type="presParOf" srcId="{7BBB9EA9-E9C9-43AB-947A-DEEC62EA6EE0}" destId="{784CACED-C7C8-4A91-9F32-18BE2EF8FF8D}" srcOrd="0" destOrd="0" presId="urn:microsoft.com/office/officeart/2005/8/layout/orgChart1"/>
    <dgm:cxn modelId="{7F03E4D7-C540-44D1-85AC-AD8704256936}" type="presParOf" srcId="{784CACED-C7C8-4A91-9F32-18BE2EF8FF8D}" destId="{2C1E32B0-9A5D-44D1-8069-D69AEEE9CACC}" srcOrd="0" destOrd="0" presId="urn:microsoft.com/office/officeart/2005/8/layout/orgChart1"/>
    <dgm:cxn modelId="{69E7299B-6B22-4999-BED4-6DB01E20EF81}" type="presParOf" srcId="{784CACED-C7C8-4A91-9F32-18BE2EF8FF8D}" destId="{8AA5AC8F-7B67-4E2E-9A66-217EEC9BE7E9}" srcOrd="1" destOrd="0" presId="urn:microsoft.com/office/officeart/2005/8/layout/orgChart1"/>
    <dgm:cxn modelId="{6D5A1150-001F-4A8C-BF44-3655E529C561}" type="presParOf" srcId="{7BBB9EA9-E9C9-43AB-947A-DEEC62EA6EE0}" destId="{23FB6E80-A59A-470E-B281-1573F8F1D4AC}" srcOrd="1" destOrd="0" presId="urn:microsoft.com/office/officeart/2005/8/layout/orgChart1"/>
    <dgm:cxn modelId="{8A722A50-005B-4542-A55C-3FE0863E08EB}" type="presParOf" srcId="{23FB6E80-A59A-470E-B281-1573F8F1D4AC}" destId="{EAC9B74D-1CA1-4EBC-83C0-078E2843B3B5}" srcOrd="0" destOrd="0" presId="urn:microsoft.com/office/officeart/2005/8/layout/orgChart1"/>
    <dgm:cxn modelId="{2D8F110D-41BC-473F-8585-41C96FBBC346}" type="presParOf" srcId="{23FB6E80-A59A-470E-B281-1573F8F1D4AC}" destId="{457EEE6B-30F6-4FE8-A89A-923FA3971D23}" srcOrd="1" destOrd="0" presId="urn:microsoft.com/office/officeart/2005/8/layout/orgChart1"/>
    <dgm:cxn modelId="{24E1C871-23FE-4A41-B78F-63D480938CA6}" type="presParOf" srcId="{457EEE6B-30F6-4FE8-A89A-923FA3971D23}" destId="{2D3A27C6-D304-41B9-ABBA-8CFF00B2162D}" srcOrd="0" destOrd="0" presId="urn:microsoft.com/office/officeart/2005/8/layout/orgChart1"/>
    <dgm:cxn modelId="{094615FC-2EDE-4B1B-88E6-4541E8FD64D0}" type="presParOf" srcId="{2D3A27C6-D304-41B9-ABBA-8CFF00B2162D}" destId="{00C5C967-E72F-4113-A079-2B07C7E0A06E}" srcOrd="0" destOrd="0" presId="urn:microsoft.com/office/officeart/2005/8/layout/orgChart1"/>
    <dgm:cxn modelId="{CE7AD4E1-CB1D-4CD2-92DC-BD48CDDC6E4E}" type="presParOf" srcId="{2D3A27C6-D304-41B9-ABBA-8CFF00B2162D}" destId="{5DD6D80D-DE81-4342-83BE-BF5515E31332}" srcOrd="1" destOrd="0" presId="urn:microsoft.com/office/officeart/2005/8/layout/orgChart1"/>
    <dgm:cxn modelId="{F5EDF437-3841-43D3-8AA3-3AEDFC23E083}" type="presParOf" srcId="{457EEE6B-30F6-4FE8-A89A-923FA3971D23}" destId="{46626EDF-9D75-4631-954A-FE1765B5508D}" srcOrd="1" destOrd="0" presId="urn:microsoft.com/office/officeart/2005/8/layout/orgChart1"/>
    <dgm:cxn modelId="{ABC6D506-C17E-4BC5-9AE1-D715EE7A85A7}" type="presParOf" srcId="{457EEE6B-30F6-4FE8-A89A-923FA3971D23}" destId="{A4C4A286-C710-4E22-AB4E-028D397E1147}" srcOrd="2" destOrd="0" presId="urn:microsoft.com/office/officeart/2005/8/layout/orgChart1"/>
    <dgm:cxn modelId="{20DCF084-B791-4D6F-BB83-BD73B63BFDD8}" type="presParOf" srcId="{23FB6E80-A59A-470E-B281-1573F8F1D4AC}" destId="{AAA3F06F-9BFC-4F4A-A02A-EABAB0B569A1}" srcOrd="2" destOrd="0" presId="urn:microsoft.com/office/officeart/2005/8/layout/orgChart1"/>
    <dgm:cxn modelId="{C91028A1-63F3-405A-9211-C188ED93E2EE}" type="presParOf" srcId="{23FB6E80-A59A-470E-B281-1573F8F1D4AC}" destId="{A044ED25-3E36-401A-8A00-1A5E921BC4CB}" srcOrd="3" destOrd="0" presId="urn:microsoft.com/office/officeart/2005/8/layout/orgChart1"/>
    <dgm:cxn modelId="{C6A3F960-4B7B-49B5-BF30-D343AE7F00B1}" type="presParOf" srcId="{A044ED25-3E36-401A-8A00-1A5E921BC4CB}" destId="{C9609C43-558D-4ABE-B66B-0D861143DFC4}" srcOrd="0" destOrd="0" presId="urn:microsoft.com/office/officeart/2005/8/layout/orgChart1"/>
    <dgm:cxn modelId="{55893445-5CA0-4CC9-B607-D12E93E13DB5}" type="presParOf" srcId="{C9609C43-558D-4ABE-B66B-0D861143DFC4}" destId="{0E6BF8F0-269F-4064-968B-51D58F471451}" srcOrd="0" destOrd="0" presId="urn:microsoft.com/office/officeart/2005/8/layout/orgChart1"/>
    <dgm:cxn modelId="{9E92258F-60E6-4ACD-B3FF-5B34410FDE28}" type="presParOf" srcId="{C9609C43-558D-4ABE-B66B-0D861143DFC4}" destId="{E2E10D8E-E77B-4BBB-8CD4-7ED6D6155C63}" srcOrd="1" destOrd="0" presId="urn:microsoft.com/office/officeart/2005/8/layout/orgChart1"/>
    <dgm:cxn modelId="{1100A937-D4F2-4A64-9496-04B90135843E}" type="presParOf" srcId="{A044ED25-3E36-401A-8A00-1A5E921BC4CB}" destId="{900FFF4E-7C24-4792-A9F1-56978D57450A}" srcOrd="1" destOrd="0" presId="urn:microsoft.com/office/officeart/2005/8/layout/orgChart1"/>
    <dgm:cxn modelId="{3555EEF8-F01E-420A-AA61-0C0C2FF5AE75}" type="presParOf" srcId="{A044ED25-3E36-401A-8A00-1A5E921BC4CB}" destId="{E9E66DA7-7AFB-4F60-BDFE-B578B929A44B}" srcOrd="2" destOrd="0" presId="urn:microsoft.com/office/officeart/2005/8/layout/orgChart1"/>
    <dgm:cxn modelId="{4EEBD858-4133-4C77-B554-E46508AE7589}" type="presParOf" srcId="{23FB6E80-A59A-470E-B281-1573F8F1D4AC}" destId="{1F601ECD-E298-434B-B302-D51FD2DAB51E}" srcOrd="4" destOrd="0" presId="urn:microsoft.com/office/officeart/2005/8/layout/orgChart1"/>
    <dgm:cxn modelId="{31142421-CB3F-4999-81AF-D899181538D9}" type="presParOf" srcId="{23FB6E80-A59A-470E-B281-1573F8F1D4AC}" destId="{13DCEECE-2D8F-4DB3-AD92-3EAAC88873B8}" srcOrd="5" destOrd="0" presId="urn:microsoft.com/office/officeart/2005/8/layout/orgChart1"/>
    <dgm:cxn modelId="{2901E259-F8A4-4C00-8448-E0D600A7863F}" type="presParOf" srcId="{13DCEECE-2D8F-4DB3-AD92-3EAAC88873B8}" destId="{DE978DD2-EAD6-4E12-9729-4EAC9BCAF94C}" srcOrd="0" destOrd="0" presId="urn:microsoft.com/office/officeart/2005/8/layout/orgChart1"/>
    <dgm:cxn modelId="{66D60770-C2F6-4BB5-85F7-D758E8254807}" type="presParOf" srcId="{DE978DD2-EAD6-4E12-9729-4EAC9BCAF94C}" destId="{15EACC97-7CC8-49A9-91E9-814383ACB61A}" srcOrd="0" destOrd="0" presId="urn:microsoft.com/office/officeart/2005/8/layout/orgChart1"/>
    <dgm:cxn modelId="{AFD3BA07-017A-45CC-AF38-D6C9D10EDAA5}" type="presParOf" srcId="{DE978DD2-EAD6-4E12-9729-4EAC9BCAF94C}" destId="{FDA1E66E-2763-406D-94CA-934C9632DC4A}" srcOrd="1" destOrd="0" presId="urn:microsoft.com/office/officeart/2005/8/layout/orgChart1"/>
    <dgm:cxn modelId="{E7207624-BA31-4759-AA1E-236FAFA2864E}" type="presParOf" srcId="{13DCEECE-2D8F-4DB3-AD92-3EAAC88873B8}" destId="{EE0388C7-2D01-48B4-918D-92E266CC5C7B}" srcOrd="1" destOrd="0" presId="urn:microsoft.com/office/officeart/2005/8/layout/orgChart1"/>
    <dgm:cxn modelId="{14E09328-BE4A-4251-870C-1547569D5843}" type="presParOf" srcId="{13DCEECE-2D8F-4DB3-AD92-3EAAC88873B8}" destId="{EDC10BCB-5F68-4905-9CF6-7138C3F6B25A}" srcOrd="2" destOrd="0" presId="urn:microsoft.com/office/officeart/2005/8/layout/orgChart1"/>
    <dgm:cxn modelId="{CC28DB9C-ABFD-46A3-8623-290E1D12ABFD}" type="presParOf" srcId="{23FB6E80-A59A-470E-B281-1573F8F1D4AC}" destId="{49B7E8CF-FF38-478D-B53A-BB39ABF379F0}" srcOrd="6" destOrd="0" presId="urn:microsoft.com/office/officeart/2005/8/layout/orgChart1"/>
    <dgm:cxn modelId="{0AD150C3-760F-415B-93C8-6EDF1B1745F7}" type="presParOf" srcId="{23FB6E80-A59A-470E-B281-1573F8F1D4AC}" destId="{EE47F08C-DE05-4F18-9FE8-A36CF41F4711}" srcOrd="7" destOrd="0" presId="urn:microsoft.com/office/officeart/2005/8/layout/orgChart1"/>
    <dgm:cxn modelId="{8F7B143A-1B3D-41BA-B19F-76965928D6D2}" type="presParOf" srcId="{EE47F08C-DE05-4F18-9FE8-A36CF41F4711}" destId="{020217A6-F5F0-4BAA-BEBC-5BDA1C19D3AE}" srcOrd="0" destOrd="0" presId="urn:microsoft.com/office/officeart/2005/8/layout/orgChart1"/>
    <dgm:cxn modelId="{35312EEB-5633-47B5-AF7A-FB72F77314EB}" type="presParOf" srcId="{020217A6-F5F0-4BAA-BEBC-5BDA1C19D3AE}" destId="{ADE07E75-D122-4290-9D7A-5B84E76B50E3}" srcOrd="0" destOrd="0" presId="urn:microsoft.com/office/officeart/2005/8/layout/orgChart1"/>
    <dgm:cxn modelId="{5D041DCF-4BB0-463B-A0BF-256FB037212A}" type="presParOf" srcId="{020217A6-F5F0-4BAA-BEBC-5BDA1C19D3AE}" destId="{7B0AA949-7A74-4F93-B7B9-63362A28EF64}" srcOrd="1" destOrd="0" presId="urn:microsoft.com/office/officeart/2005/8/layout/orgChart1"/>
    <dgm:cxn modelId="{B1901C5B-D30C-405C-80FA-AF93413B661A}" type="presParOf" srcId="{EE47F08C-DE05-4F18-9FE8-A36CF41F4711}" destId="{F663F452-85BE-4189-9340-1EE6F8DDD0E8}" srcOrd="1" destOrd="0" presId="urn:microsoft.com/office/officeart/2005/8/layout/orgChart1"/>
    <dgm:cxn modelId="{5B49A46F-687F-4685-9791-5E7F547E0713}" type="presParOf" srcId="{EE47F08C-DE05-4F18-9FE8-A36CF41F4711}" destId="{F7C6086F-1786-49D8-82F7-A935AB705B11}" srcOrd="2" destOrd="0" presId="urn:microsoft.com/office/officeart/2005/8/layout/orgChart1"/>
    <dgm:cxn modelId="{137BB296-A717-4F4A-B264-D7AEBE0D276D}" type="presParOf" srcId="{23FB6E80-A59A-470E-B281-1573F8F1D4AC}" destId="{2E99663E-355B-415A-BE1B-6E96BED84E2E}" srcOrd="8" destOrd="0" presId="urn:microsoft.com/office/officeart/2005/8/layout/orgChart1"/>
    <dgm:cxn modelId="{2A421210-ADCC-4F5F-B0A7-E62415F3A294}" type="presParOf" srcId="{23FB6E80-A59A-470E-B281-1573F8F1D4AC}" destId="{833AD71E-5B2D-4D2E-B700-FB8C7004BD8C}" srcOrd="9" destOrd="0" presId="urn:microsoft.com/office/officeart/2005/8/layout/orgChart1"/>
    <dgm:cxn modelId="{DA641636-1E5D-48C3-B807-18C5DCAEBA6B}" type="presParOf" srcId="{833AD71E-5B2D-4D2E-B700-FB8C7004BD8C}" destId="{B23CA268-B407-449C-B4E3-7E5DA8341FC4}" srcOrd="0" destOrd="0" presId="urn:microsoft.com/office/officeart/2005/8/layout/orgChart1"/>
    <dgm:cxn modelId="{CDB1D76B-C1D7-4624-8FAB-7E1AD9191DD9}" type="presParOf" srcId="{B23CA268-B407-449C-B4E3-7E5DA8341FC4}" destId="{79B4F591-F952-4C3E-A9B3-5FA9BEC4FEBA}" srcOrd="0" destOrd="0" presId="urn:microsoft.com/office/officeart/2005/8/layout/orgChart1"/>
    <dgm:cxn modelId="{CC6C0317-53DC-48F5-B7C9-887DE49D624C}" type="presParOf" srcId="{B23CA268-B407-449C-B4E3-7E5DA8341FC4}" destId="{C2DC757B-1591-4732-A693-1F9574BE695E}" srcOrd="1" destOrd="0" presId="urn:microsoft.com/office/officeart/2005/8/layout/orgChart1"/>
    <dgm:cxn modelId="{41E49DC6-F47E-48DB-95A7-E3157DBDE738}" type="presParOf" srcId="{833AD71E-5B2D-4D2E-B700-FB8C7004BD8C}" destId="{5081C53D-81AC-4940-AA02-9A7CFB45D22A}" srcOrd="1" destOrd="0" presId="urn:microsoft.com/office/officeart/2005/8/layout/orgChart1"/>
    <dgm:cxn modelId="{EB4D2780-E788-453F-A22A-E4F9EC199A71}" type="presParOf" srcId="{833AD71E-5B2D-4D2E-B700-FB8C7004BD8C}" destId="{5B9AFC94-37C1-41A4-9E00-4727AF4E6CC4}" srcOrd="2" destOrd="0" presId="urn:microsoft.com/office/officeart/2005/8/layout/orgChart1"/>
    <dgm:cxn modelId="{7A0391A5-6FCF-422F-BE94-6F4D25A789E7}" type="presParOf" srcId="{7BBB9EA9-E9C9-43AB-947A-DEEC62EA6EE0}" destId="{32D43311-2245-4A2A-8091-88F899AEDC41}" srcOrd="2" destOrd="0" presId="urn:microsoft.com/office/officeart/2005/8/layout/orgChart1"/>
    <dgm:cxn modelId="{0168A7DF-9FBD-4A3C-9662-3674BB7EE90A}" type="presParOf" srcId="{74C09711-C89D-4CB7-A46A-3422D68D90DB}" destId="{7614B56B-D9FC-4F65-86E3-BFE40C8DBFB8}" srcOrd="2" destOrd="0" presId="urn:microsoft.com/office/officeart/2005/8/layout/orgChar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1721901-6605-495E-B07F-D70E0F88BA34}" type="doc">
      <dgm:prSet loTypeId="urn:microsoft.com/office/officeart/2005/8/layout/target3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FC29AE5-52D9-4B7E-8563-06033736A21F}">
      <dgm:prSet phldrT="[Текст]" custT="1"/>
      <dgm:spPr/>
      <dgm:t>
        <a:bodyPr/>
        <a:lstStyle/>
        <a:p>
          <a:r>
            <a:rPr lang="ru-RU" sz="2800" b="1" i="0" dirty="0" err="1" smtClean="0">
              <a:latin typeface="Cambria" pitchFamily="18" charset="0"/>
            </a:rPr>
            <a:t>персональні</a:t>
          </a:r>
          <a:endParaRPr lang="ru-RU" sz="2800" b="1" dirty="0">
            <a:latin typeface="Cambria" pitchFamily="18" charset="0"/>
          </a:endParaRPr>
        </a:p>
      </dgm:t>
    </dgm:pt>
    <dgm:pt modelId="{F7422EE6-0DE4-4CA9-8B74-0A1EC9517F69}" type="parTrans" cxnId="{3E1A1751-8714-4C94-9F7B-3DD960AEFE74}">
      <dgm:prSet/>
      <dgm:spPr/>
      <dgm:t>
        <a:bodyPr/>
        <a:lstStyle/>
        <a:p>
          <a:endParaRPr lang="ru-RU"/>
        </a:p>
      </dgm:t>
    </dgm:pt>
    <dgm:pt modelId="{85651113-8D0B-4F31-8FEE-496C348DEAE6}" type="sibTrans" cxnId="{3E1A1751-8714-4C94-9F7B-3DD960AEFE74}">
      <dgm:prSet/>
      <dgm:spPr/>
      <dgm:t>
        <a:bodyPr/>
        <a:lstStyle/>
        <a:p>
          <a:endParaRPr lang="ru-RU"/>
        </a:p>
      </dgm:t>
    </dgm:pt>
    <dgm:pt modelId="{FCF82690-B781-4BD6-A02E-8B5496290735}">
      <dgm:prSet phldrT="[Текст]" custT="1"/>
      <dgm:spPr/>
      <dgm:t>
        <a:bodyPr/>
        <a:lstStyle/>
        <a:p>
          <a:r>
            <a:rPr lang="ru-RU" sz="2800" b="1" i="0" dirty="0" err="1" smtClean="0">
              <a:latin typeface="Cambria" pitchFamily="18" charset="0"/>
            </a:rPr>
            <a:t>комерційні</a:t>
          </a:r>
          <a:endParaRPr lang="ru-RU" sz="2800" b="1" dirty="0">
            <a:latin typeface="Cambria" pitchFamily="18" charset="0"/>
          </a:endParaRPr>
        </a:p>
      </dgm:t>
    </dgm:pt>
    <dgm:pt modelId="{7D37C8E1-4116-4E0A-8353-2AEE1121D676}" type="parTrans" cxnId="{39A47766-BCFC-4086-A665-71337B23976B}">
      <dgm:prSet/>
      <dgm:spPr/>
      <dgm:t>
        <a:bodyPr/>
        <a:lstStyle/>
        <a:p>
          <a:endParaRPr lang="ru-RU"/>
        </a:p>
      </dgm:t>
    </dgm:pt>
    <dgm:pt modelId="{470C2B88-9935-46CB-B85F-CCCBC6EB67E3}" type="sibTrans" cxnId="{39A47766-BCFC-4086-A665-71337B23976B}">
      <dgm:prSet/>
      <dgm:spPr/>
      <dgm:t>
        <a:bodyPr/>
        <a:lstStyle/>
        <a:p>
          <a:endParaRPr lang="ru-RU"/>
        </a:p>
      </dgm:t>
    </dgm:pt>
    <dgm:pt modelId="{B7F8B048-C6D0-4DC3-BF9E-AA0045C578E7}">
      <dgm:prSet phldrT="[Текст]" custT="1"/>
      <dgm:spPr/>
      <dgm:t>
        <a:bodyPr/>
        <a:lstStyle/>
        <a:p>
          <a:r>
            <a:rPr lang="ru-RU" sz="2800" b="1" i="0" dirty="0" err="1" smtClean="0">
              <a:latin typeface="Cambria" pitchFamily="18" charset="0"/>
            </a:rPr>
            <a:t>інформаційні</a:t>
          </a:r>
          <a:endParaRPr lang="ru-RU" sz="2800" b="1" dirty="0">
            <a:latin typeface="Cambria" pitchFamily="18" charset="0"/>
          </a:endParaRPr>
        </a:p>
      </dgm:t>
    </dgm:pt>
    <dgm:pt modelId="{A4113B2B-F084-45E0-A812-CC0CFFAC446F}" type="parTrans" cxnId="{A2F4B2B5-6543-42DE-ACCD-A4E8376F7E3A}">
      <dgm:prSet/>
      <dgm:spPr/>
      <dgm:t>
        <a:bodyPr/>
        <a:lstStyle/>
        <a:p>
          <a:endParaRPr lang="ru-RU"/>
        </a:p>
      </dgm:t>
    </dgm:pt>
    <dgm:pt modelId="{8B5891C9-8CF5-4827-AF30-7E4342F705EB}" type="sibTrans" cxnId="{A2F4B2B5-6543-42DE-ACCD-A4E8376F7E3A}">
      <dgm:prSet/>
      <dgm:spPr/>
      <dgm:t>
        <a:bodyPr/>
        <a:lstStyle/>
        <a:p>
          <a:endParaRPr lang="ru-RU"/>
        </a:p>
      </dgm:t>
    </dgm:pt>
    <dgm:pt modelId="{83570723-641A-4EE0-89CD-FCF8B0ACE5DA}">
      <dgm:prSet phldrT="[Текст]" custT="1"/>
      <dgm:spPr/>
      <dgm:t>
        <a:bodyPr/>
        <a:lstStyle/>
        <a:p>
          <a:r>
            <a:rPr lang="ru-RU" sz="2800" b="1" i="0" dirty="0" err="1" smtClean="0">
              <a:latin typeface="Cambria" pitchFamily="18" charset="0"/>
            </a:rPr>
            <a:t>офіційні</a:t>
          </a:r>
          <a:endParaRPr lang="ru-RU" sz="2800" b="1" dirty="0">
            <a:latin typeface="Cambria" pitchFamily="18" charset="0"/>
          </a:endParaRPr>
        </a:p>
      </dgm:t>
    </dgm:pt>
    <dgm:pt modelId="{2B0EEF7F-B229-4822-BF0D-21523D5C596E}" type="parTrans" cxnId="{8BD70A34-EBDB-4D6C-99F4-F39E1FD87970}">
      <dgm:prSet/>
      <dgm:spPr/>
      <dgm:t>
        <a:bodyPr/>
        <a:lstStyle/>
        <a:p>
          <a:endParaRPr lang="ru-RU"/>
        </a:p>
      </dgm:t>
    </dgm:pt>
    <dgm:pt modelId="{6A65CD03-7498-4197-9915-CD2CD9063D7F}" type="sibTrans" cxnId="{8BD70A34-EBDB-4D6C-99F4-F39E1FD87970}">
      <dgm:prSet/>
      <dgm:spPr/>
      <dgm:t>
        <a:bodyPr/>
        <a:lstStyle/>
        <a:p>
          <a:endParaRPr lang="ru-RU"/>
        </a:p>
      </dgm:t>
    </dgm:pt>
    <dgm:pt modelId="{DD9EAA26-21E8-4E81-A9B3-3BDEDC2D41D5}">
      <dgm:prSet phldrT="[Текст]" custT="1"/>
      <dgm:spPr/>
      <dgm:t>
        <a:bodyPr/>
        <a:lstStyle/>
        <a:p>
          <a:r>
            <a:rPr lang="ru-RU" sz="2800" b="1" i="0" dirty="0" err="1" smtClean="0">
              <a:latin typeface="Cambria" pitchFamily="18" charset="0"/>
            </a:rPr>
            <a:t>освітні</a:t>
          </a:r>
          <a:endParaRPr lang="ru-RU" sz="2800" b="1" dirty="0">
            <a:latin typeface="Cambria" pitchFamily="18" charset="0"/>
          </a:endParaRPr>
        </a:p>
      </dgm:t>
    </dgm:pt>
    <dgm:pt modelId="{48AAAC13-15C9-411E-B077-AE0EB10F306E}" type="parTrans" cxnId="{BD95047A-6FB0-4FA3-BED8-EEBD8A1611CC}">
      <dgm:prSet/>
      <dgm:spPr/>
      <dgm:t>
        <a:bodyPr/>
        <a:lstStyle/>
        <a:p>
          <a:endParaRPr lang="ru-RU"/>
        </a:p>
      </dgm:t>
    </dgm:pt>
    <dgm:pt modelId="{83133FDB-CD46-45A5-AC15-BD0E4494CF04}" type="sibTrans" cxnId="{BD95047A-6FB0-4FA3-BED8-EEBD8A1611CC}">
      <dgm:prSet/>
      <dgm:spPr/>
      <dgm:t>
        <a:bodyPr/>
        <a:lstStyle/>
        <a:p>
          <a:endParaRPr lang="ru-RU"/>
        </a:p>
      </dgm:t>
    </dgm:pt>
    <dgm:pt modelId="{4464135A-A4CE-4992-85F7-65849D236053}">
      <dgm:prSet phldrT="[Текст]" custT="1"/>
      <dgm:spPr/>
      <dgm:t>
        <a:bodyPr/>
        <a:lstStyle/>
        <a:p>
          <a:r>
            <a:rPr lang="uk-UA" sz="2800" b="1" dirty="0" smtClean="0">
              <a:latin typeface="Cambria" pitchFamily="18" charset="0"/>
            </a:rPr>
            <a:t>розважальні</a:t>
          </a:r>
          <a:endParaRPr lang="ru-RU" sz="2800" b="1" dirty="0">
            <a:latin typeface="Cambria" pitchFamily="18" charset="0"/>
          </a:endParaRPr>
        </a:p>
      </dgm:t>
    </dgm:pt>
    <dgm:pt modelId="{51306C82-1346-45E4-9233-F929906F5658}" type="parTrans" cxnId="{8C941769-EDD1-4305-B609-576E71EB54B8}">
      <dgm:prSet/>
      <dgm:spPr/>
      <dgm:t>
        <a:bodyPr/>
        <a:lstStyle/>
        <a:p>
          <a:endParaRPr lang="ru-RU"/>
        </a:p>
      </dgm:t>
    </dgm:pt>
    <dgm:pt modelId="{98F60459-C3E0-419C-817C-89F88BA88F78}" type="sibTrans" cxnId="{8C941769-EDD1-4305-B609-576E71EB54B8}">
      <dgm:prSet/>
      <dgm:spPr/>
      <dgm:t>
        <a:bodyPr/>
        <a:lstStyle/>
        <a:p>
          <a:endParaRPr lang="ru-RU"/>
        </a:p>
      </dgm:t>
    </dgm:pt>
    <dgm:pt modelId="{5E8589A2-6531-4A53-BD60-92592F64E45C}" type="pres">
      <dgm:prSet presAssocID="{D1721901-6605-495E-B07F-D70E0F88BA34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7DBC03-0FBF-44B4-B13C-1A1F756A9FDF}" type="pres">
      <dgm:prSet presAssocID="{DFC29AE5-52D9-4B7E-8563-06033736A21F}" presName="circle1" presStyleLbl="node1" presStyleIdx="0" presStyleCnt="6"/>
      <dgm:spPr/>
    </dgm:pt>
    <dgm:pt modelId="{630FA121-180C-48AB-8038-5A7DF993AA2B}" type="pres">
      <dgm:prSet presAssocID="{DFC29AE5-52D9-4B7E-8563-06033736A21F}" presName="space" presStyleCnt="0"/>
      <dgm:spPr/>
    </dgm:pt>
    <dgm:pt modelId="{37A2CB1F-D3F9-41F9-B5B5-15DC0740E801}" type="pres">
      <dgm:prSet presAssocID="{DFC29AE5-52D9-4B7E-8563-06033736A21F}" presName="rect1" presStyleLbl="alignAcc1" presStyleIdx="0" presStyleCnt="6"/>
      <dgm:spPr/>
      <dgm:t>
        <a:bodyPr/>
        <a:lstStyle/>
        <a:p>
          <a:endParaRPr lang="ru-RU"/>
        </a:p>
      </dgm:t>
    </dgm:pt>
    <dgm:pt modelId="{D475B437-5D6C-4C25-A486-D71FEB1F22ED}" type="pres">
      <dgm:prSet presAssocID="{FCF82690-B781-4BD6-A02E-8B5496290735}" presName="vertSpace2" presStyleLbl="node1" presStyleIdx="0" presStyleCnt="6"/>
      <dgm:spPr/>
    </dgm:pt>
    <dgm:pt modelId="{07502D55-EB24-46D5-B803-EB082E57CB54}" type="pres">
      <dgm:prSet presAssocID="{FCF82690-B781-4BD6-A02E-8B5496290735}" presName="circle2" presStyleLbl="node1" presStyleIdx="1" presStyleCnt="6"/>
      <dgm:spPr/>
    </dgm:pt>
    <dgm:pt modelId="{06EBEF6B-7FAF-4E06-BBB1-45014AC4B3E1}" type="pres">
      <dgm:prSet presAssocID="{FCF82690-B781-4BD6-A02E-8B5496290735}" presName="rect2" presStyleLbl="alignAcc1" presStyleIdx="1" presStyleCnt="6"/>
      <dgm:spPr/>
      <dgm:t>
        <a:bodyPr/>
        <a:lstStyle/>
        <a:p>
          <a:endParaRPr lang="ru-RU"/>
        </a:p>
      </dgm:t>
    </dgm:pt>
    <dgm:pt modelId="{24B1E432-3B58-45E0-BA7E-7C8F01FF1873}" type="pres">
      <dgm:prSet presAssocID="{B7F8B048-C6D0-4DC3-BF9E-AA0045C578E7}" presName="vertSpace3" presStyleLbl="node1" presStyleIdx="1" presStyleCnt="6"/>
      <dgm:spPr/>
    </dgm:pt>
    <dgm:pt modelId="{EA67EA92-3549-496F-820C-FE32A2BEFF61}" type="pres">
      <dgm:prSet presAssocID="{B7F8B048-C6D0-4DC3-BF9E-AA0045C578E7}" presName="circle3" presStyleLbl="node1" presStyleIdx="2" presStyleCnt="6"/>
      <dgm:spPr/>
    </dgm:pt>
    <dgm:pt modelId="{8B797352-C54E-422C-9744-0E368CA2D83D}" type="pres">
      <dgm:prSet presAssocID="{B7F8B048-C6D0-4DC3-BF9E-AA0045C578E7}" presName="rect3" presStyleLbl="alignAcc1" presStyleIdx="2" presStyleCnt="6"/>
      <dgm:spPr/>
      <dgm:t>
        <a:bodyPr/>
        <a:lstStyle/>
        <a:p>
          <a:endParaRPr lang="ru-RU"/>
        </a:p>
      </dgm:t>
    </dgm:pt>
    <dgm:pt modelId="{615A5A8F-7A15-49DF-9CF1-5A9002C10368}" type="pres">
      <dgm:prSet presAssocID="{83570723-641A-4EE0-89CD-FCF8B0ACE5DA}" presName="vertSpace4" presStyleLbl="node1" presStyleIdx="2" presStyleCnt="6"/>
      <dgm:spPr/>
    </dgm:pt>
    <dgm:pt modelId="{948ECEA8-6FCE-4238-AF2F-2319D183936C}" type="pres">
      <dgm:prSet presAssocID="{83570723-641A-4EE0-89CD-FCF8B0ACE5DA}" presName="circle4" presStyleLbl="node1" presStyleIdx="3" presStyleCnt="6"/>
      <dgm:spPr/>
    </dgm:pt>
    <dgm:pt modelId="{C7F91F7C-C4B0-49E1-A8AB-46BDEA36B4E7}" type="pres">
      <dgm:prSet presAssocID="{83570723-641A-4EE0-89CD-FCF8B0ACE5DA}" presName="rect4" presStyleLbl="alignAcc1" presStyleIdx="3" presStyleCnt="6"/>
      <dgm:spPr/>
      <dgm:t>
        <a:bodyPr/>
        <a:lstStyle/>
        <a:p>
          <a:endParaRPr lang="ru-RU"/>
        </a:p>
      </dgm:t>
    </dgm:pt>
    <dgm:pt modelId="{9F0F3D8D-665A-4D61-B412-398D3126201F}" type="pres">
      <dgm:prSet presAssocID="{DD9EAA26-21E8-4E81-A9B3-3BDEDC2D41D5}" presName="vertSpace5" presStyleLbl="node1" presStyleIdx="3" presStyleCnt="6"/>
      <dgm:spPr/>
    </dgm:pt>
    <dgm:pt modelId="{F3BED557-5913-464D-BD25-2BBDF5E56903}" type="pres">
      <dgm:prSet presAssocID="{DD9EAA26-21E8-4E81-A9B3-3BDEDC2D41D5}" presName="circle5" presStyleLbl="node1" presStyleIdx="4" presStyleCnt="6"/>
      <dgm:spPr/>
    </dgm:pt>
    <dgm:pt modelId="{06B73B8E-7F0B-4389-A86C-4539C4899E1B}" type="pres">
      <dgm:prSet presAssocID="{DD9EAA26-21E8-4E81-A9B3-3BDEDC2D41D5}" presName="rect5" presStyleLbl="alignAcc1" presStyleIdx="4" presStyleCnt="6"/>
      <dgm:spPr/>
      <dgm:t>
        <a:bodyPr/>
        <a:lstStyle/>
        <a:p>
          <a:endParaRPr lang="ru-RU"/>
        </a:p>
      </dgm:t>
    </dgm:pt>
    <dgm:pt modelId="{62C7F868-7A74-4568-982D-4608A7236F9F}" type="pres">
      <dgm:prSet presAssocID="{4464135A-A4CE-4992-85F7-65849D236053}" presName="vertSpace6" presStyleLbl="node1" presStyleIdx="4" presStyleCnt="6"/>
      <dgm:spPr/>
    </dgm:pt>
    <dgm:pt modelId="{0B3F2BF9-964B-43F9-A3B5-1C4863123D0B}" type="pres">
      <dgm:prSet presAssocID="{4464135A-A4CE-4992-85F7-65849D236053}" presName="circle6" presStyleLbl="node1" presStyleIdx="5" presStyleCnt="6"/>
      <dgm:spPr/>
    </dgm:pt>
    <dgm:pt modelId="{5340957F-9391-4A39-A605-6731C0765204}" type="pres">
      <dgm:prSet presAssocID="{4464135A-A4CE-4992-85F7-65849D236053}" presName="rect6" presStyleLbl="alignAcc1" presStyleIdx="5" presStyleCnt="6"/>
      <dgm:spPr/>
      <dgm:t>
        <a:bodyPr/>
        <a:lstStyle/>
        <a:p>
          <a:endParaRPr lang="ru-RU"/>
        </a:p>
      </dgm:t>
    </dgm:pt>
    <dgm:pt modelId="{78202B18-ACE7-4FC7-A116-05D93EB3137F}" type="pres">
      <dgm:prSet presAssocID="{DFC29AE5-52D9-4B7E-8563-06033736A21F}" presName="rect1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503699-BED9-4C34-B607-65B0321F573E}" type="pres">
      <dgm:prSet presAssocID="{FCF82690-B781-4BD6-A02E-8B5496290735}" presName="rect2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4A13D7-D8E8-4EA2-9D9A-8BC4EC6F556F}" type="pres">
      <dgm:prSet presAssocID="{B7F8B048-C6D0-4DC3-BF9E-AA0045C578E7}" presName="rect3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7FA954-A287-44D3-AD6A-DE2B35FE234E}" type="pres">
      <dgm:prSet presAssocID="{83570723-641A-4EE0-89CD-FCF8B0ACE5DA}" presName="rect4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40D7ED-4C98-4BCD-A8B8-09196C433FAB}" type="pres">
      <dgm:prSet presAssocID="{DD9EAA26-21E8-4E81-A9B3-3BDEDC2D41D5}" presName="rect5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FD66F4-E44C-471C-944E-4A29AFBAC5B0}" type="pres">
      <dgm:prSet presAssocID="{4464135A-A4CE-4992-85F7-65849D236053}" presName="rect6ParTxNoCh" presStyleLbl="alignAcc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4212567-4C08-4C81-842C-E604F2501944}" type="presOf" srcId="{FCF82690-B781-4BD6-A02E-8B5496290735}" destId="{06EBEF6B-7FAF-4E06-BBB1-45014AC4B3E1}" srcOrd="0" destOrd="0" presId="urn:microsoft.com/office/officeart/2005/8/layout/target3"/>
    <dgm:cxn modelId="{BD95047A-6FB0-4FA3-BED8-EEBD8A1611CC}" srcId="{D1721901-6605-495E-B07F-D70E0F88BA34}" destId="{DD9EAA26-21E8-4E81-A9B3-3BDEDC2D41D5}" srcOrd="4" destOrd="0" parTransId="{48AAAC13-15C9-411E-B077-AE0EB10F306E}" sibTransId="{83133FDB-CD46-45A5-AC15-BD0E4494CF04}"/>
    <dgm:cxn modelId="{B68AABF0-E8F0-4FF4-B257-538FA62A23E9}" type="presOf" srcId="{4464135A-A4CE-4992-85F7-65849D236053}" destId="{5340957F-9391-4A39-A605-6731C0765204}" srcOrd="0" destOrd="0" presId="urn:microsoft.com/office/officeart/2005/8/layout/target3"/>
    <dgm:cxn modelId="{A2F4B2B5-6543-42DE-ACCD-A4E8376F7E3A}" srcId="{D1721901-6605-495E-B07F-D70E0F88BA34}" destId="{B7F8B048-C6D0-4DC3-BF9E-AA0045C578E7}" srcOrd="2" destOrd="0" parTransId="{A4113B2B-F084-45E0-A812-CC0CFFAC446F}" sibTransId="{8B5891C9-8CF5-4827-AF30-7E4342F705EB}"/>
    <dgm:cxn modelId="{3E1A1751-8714-4C94-9F7B-3DD960AEFE74}" srcId="{D1721901-6605-495E-B07F-D70E0F88BA34}" destId="{DFC29AE5-52D9-4B7E-8563-06033736A21F}" srcOrd="0" destOrd="0" parTransId="{F7422EE6-0DE4-4CA9-8B74-0A1EC9517F69}" sibTransId="{85651113-8D0B-4F31-8FEE-496C348DEAE6}"/>
    <dgm:cxn modelId="{FB00C08D-8CAB-4666-9529-A52838984861}" type="presOf" srcId="{B7F8B048-C6D0-4DC3-BF9E-AA0045C578E7}" destId="{8B797352-C54E-422C-9744-0E368CA2D83D}" srcOrd="0" destOrd="0" presId="urn:microsoft.com/office/officeart/2005/8/layout/target3"/>
    <dgm:cxn modelId="{89C4592A-603D-457B-B9DA-CE7344216C0B}" type="presOf" srcId="{83570723-641A-4EE0-89CD-FCF8B0ACE5DA}" destId="{C7F91F7C-C4B0-49E1-A8AB-46BDEA36B4E7}" srcOrd="0" destOrd="0" presId="urn:microsoft.com/office/officeart/2005/8/layout/target3"/>
    <dgm:cxn modelId="{6628C1F1-9E84-4104-A393-71B9BB59F6CB}" type="presOf" srcId="{DFC29AE5-52D9-4B7E-8563-06033736A21F}" destId="{37A2CB1F-D3F9-41F9-B5B5-15DC0740E801}" srcOrd="0" destOrd="0" presId="urn:microsoft.com/office/officeart/2005/8/layout/target3"/>
    <dgm:cxn modelId="{8BD70A34-EBDB-4D6C-99F4-F39E1FD87970}" srcId="{D1721901-6605-495E-B07F-D70E0F88BA34}" destId="{83570723-641A-4EE0-89CD-FCF8B0ACE5DA}" srcOrd="3" destOrd="0" parTransId="{2B0EEF7F-B229-4822-BF0D-21523D5C596E}" sibTransId="{6A65CD03-7498-4197-9915-CD2CD9063D7F}"/>
    <dgm:cxn modelId="{7B462B83-93ED-457E-BC6D-E72C66BAF689}" type="presOf" srcId="{DFC29AE5-52D9-4B7E-8563-06033736A21F}" destId="{78202B18-ACE7-4FC7-A116-05D93EB3137F}" srcOrd="1" destOrd="0" presId="urn:microsoft.com/office/officeart/2005/8/layout/target3"/>
    <dgm:cxn modelId="{89B5F690-163A-4AC3-B534-B8CC7E965CF6}" type="presOf" srcId="{DD9EAA26-21E8-4E81-A9B3-3BDEDC2D41D5}" destId="{0940D7ED-4C98-4BCD-A8B8-09196C433FAB}" srcOrd="1" destOrd="0" presId="urn:microsoft.com/office/officeart/2005/8/layout/target3"/>
    <dgm:cxn modelId="{078C3136-1E83-40EE-87D9-DE37219ED7D1}" type="presOf" srcId="{83570723-641A-4EE0-89CD-FCF8B0ACE5DA}" destId="{7C7FA954-A287-44D3-AD6A-DE2B35FE234E}" srcOrd="1" destOrd="0" presId="urn:microsoft.com/office/officeart/2005/8/layout/target3"/>
    <dgm:cxn modelId="{142FABBB-EC50-4763-9952-F3FD0E584889}" type="presOf" srcId="{B7F8B048-C6D0-4DC3-BF9E-AA0045C578E7}" destId="{364A13D7-D8E8-4EA2-9D9A-8BC4EC6F556F}" srcOrd="1" destOrd="0" presId="urn:microsoft.com/office/officeart/2005/8/layout/target3"/>
    <dgm:cxn modelId="{C87EA796-5A5E-4B45-8ACD-EFD24C07CC2A}" type="presOf" srcId="{FCF82690-B781-4BD6-A02E-8B5496290735}" destId="{7B503699-BED9-4C34-B607-65B0321F573E}" srcOrd="1" destOrd="0" presId="urn:microsoft.com/office/officeart/2005/8/layout/target3"/>
    <dgm:cxn modelId="{8D776880-80DD-4B75-8AB4-FA0787AFEF75}" type="presOf" srcId="{DD9EAA26-21E8-4E81-A9B3-3BDEDC2D41D5}" destId="{06B73B8E-7F0B-4389-A86C-4539C4899E1B}" srcOrd="0" destOrd="0" presId="urn:microsoft.com/office/officeart/2005/8/layout/target3"/>
    <dgm:cxn modelId="{39A47766-BCFC-4086-A665-71337B23976B}" srcId="{D1721901-6605-495E-B07F-D70E0F88BA34}" destId="{FCF82690-B781-4BD6-A02E-8B5496290735}" srcOrd="1" destOrd="0" parTransId="{7D37C8E1-4116-4E0A-8353-2AEE1121D676}" sibTransId="{470C2B88-9935-46CB-B85F-CCCBC6EB67E3}"/>
    <dgm:cxn modelId="{8C941769-EDD1-4305-B609-576E71EB54B8}" srcId="{D1721901-6605-495E-B07F-D70E0F88BA34}" destId="{4464135A-A4CE-4992-85F7-65849D236053}" srcOrd="5" destOrd="0" parTransId="{51306C82-1346-45E4-9233-F929906F5658}" sibTransId="{98F60459-C3E0-419C-817C-89F88BA88F78}"/>
    <dgm:cxn modelId="{EFC60F2A-0B03-4B5C-8409-9E716A98EADB}" type="presOf" srcId="{D1721901-6605-495E-B07F-D70E0F88BA34}" destId="{5E8589A2-6531-4A53-BD60-92592F64E45C}" srcOrd="0" destOrd="0" presId="urn:microsoft.com/office/officeart/2005/8/layout/target3"/>
    <dgm:cxn modelId="{5C4C4523-BFC7-4B67-99C9-0835D3E908A9}" type="presOf" srcId="{4464135A-A4CE-4992-85F7-65849D236053}" destId="{88FD66F4-E44C-471C-944E-4A29AFBAC5B0}" srcOrd="1" destOrd="0" presId="urn:microsoft.com/office/officeart/2005/8/layout/target3"/>
    <dgm:cxn modelId="{7D519E41-D879-42D2-B638-FECA73DB960C}" type="presParOf" srcId="{5E8589A2-6531-4A53-BD60-92592F64E45C}" destId="{6A7DBC03-0FBF-44B4-B13C-1A1F756A9FDF}" srcOrd="0" destOrd="0" presId="urn:microsoft.com/office/officeart/2005/8/layout/target3"/>
    <dgm:cxn modelId="{20A3CCD3-9A7C-4230-8A9C-990C7E7F3874}" type="presParOf" srcId="{5E8589A2-6531-4A53-BD60-92592F64E45C}" destId="{630FA121-180C-48AB-8038-5A7DF993AA2B}" srcOrd="1" destOrd="0" presId="urn:microsoft.com/office/officeart/2005/8/layout/target3"/>
    <dgm:cxn modelId="{51B3E3D5-B603-4B4B-A26D-622F408ADB9C}" type="presParOf" srcId="{5E8589A2-6531-4A53-BD60-92592F64E45C}" destId="{37A2CB1F-D3F9-41F9-B5B5-15DC0740E801}" srcOrd="2" destOrd="0" presId="urn:microsoft.com/office/officeart/2005/8/layout/target3"/>
    <dgm:cxn modelId="{E21B627D-94A5-40F5-832C-BAC8C9460450}" type="presParOf" srcId="{5E8589A2-6531-4A53-BD60-92592F64E45C}" destId="{D475B437-5D6C-4C25-A486-D71FEB1F22ED}" srcOrd="3" destOrd="0" presId="urn:microsoft.com/office/officeart/2005/8/layout/target3"/>
    <dgm:cxn modelId="{C0CE35F0-BB2C-4726-8DED-6220BE44F3EB}" type="presParOf" srcId="{5E8589A2-6531-4A53-BD60-92592F64E45C}" destId="{07502D55-EB24-46D5-B803-EB082E57CB54}" srcOrd="4" destOrd="0" presId="urn:microsoft.com/office/officeart/2005/8/layout/target3"/>
    <dgm:cxn modelId="{6636BFAD-57AE-4583-8444-A17707626410}" type="presParOf" srcId="{5E8589A2-6531-4A53-BD60-92592F64E45C}" destId="{06EBEF6B-7FAF-4E06-BBB1-45014AC4B3E1}" srcOrd="5" destOrd="0" presId="urn:microsoft.com/office/officeart/2005/8/layout/target3"/>
    <dgm:cxn modelId="{CE90C6EA-CF64-4E59-A282-17F1B73939D2}" type="presParOf" srcId="{5E8589A2-6531-4A53-BD60-92592F64E45C}" destId="{24B1E432-3B58-45E0-BA7E-7C8F01FF1873}" srcOrd="6" destOrd="0" presId="urn:microsoft.com/office/officeart/2005/8/layout/target3"/>
    <dgm:cxn modelId="{2BB4C0D0-EBB3-4534-BE21-378F1A88AE2F}" type="presParOf" srcId="{5E8589A2-6531-4A53-BD60-92592F64E45C}" destId="{EA67EA92-3549-496F-820C-FE32A2BEFF61}" srcOrd="7" destOrd="0" presId="urn:microsoft.com/office/officeart/2005/8/layout/target3"/>
    <dgm:cxn modelId="{EB2F57C5-93A1-460D-8669-451F91BDF340}" type="presParOf" srcId="{5E8589A2-6531-4A53-BD60-92592F64E45C}" destId="{8B797352-C54E-422C-9744-0E368CA2D83D}" srcOrd="8" destOrd="0" presId="urn:microsoft.com/office/officeart/2005/8/layout/target3"/>
    <dgm:cxn modelId="{16F7F1A1-A147-4BF6-B133-DBC8295A2B7C}" type="presParOf" srcId="{5E8589A2-6531-4A53-BD60-92592F64E45C}" destId="{615A5A8F-7A15-49DF-9CF1-5A9002C10368}" srcOrd="9" destOrd="0" presId="urn:microsoft.com/office/officeart/2005/8/layout/target3"/>
    <dgm:cxn modelId="{1EB14F33-92C4-4448-9863-A53A4D294013}" type="presParOf" srcId="{5E8589A2-6531-4A53-BD60-92592F64E45C}" destId="{948ECEA8-6FCE-4238-AF2F-2319D183936C}" srcOrd="10" destOrd="0" presId="urn:microsoft.com/office/officeart/2005/8/layout/target3"/>
    <dgm:cxn modelId="{8F15E61C-9B5C-447F-8E5B-952B8FEB5605}" type="presParOf" srcId="{5E8589A2-6531-4A53-BD60-92592F64E45C}" destId="{C7F91F7C-C4B0-49E1-A8AB-46BDEA36B4E7}" srcOrd="11" destOrd="0" presId="urn:microsoft.com/office/officeart/2005/8/layout/target3"/>
    <dgm:cxn modelId="{71A92A50-537C-4EAE-BF79-3E60B3425E11}" type="presParOf" srcId="{5E8589A2-6531-4A53-BD60-92592F64E45C}" destId="{9F0F3D8D-665A-4D61-B412-398D3126201F}" srcOrd="12" destOrd="0" presId="urn:microsoft.com/office/officeart/2005/8/layout/target3"/>
    <dgm:cxn modelId="{9CEC3C27-AA58-4B1F-9CF8-47C861E45022}" type="presParOf" srcId="{5E8589A2-6531-4A53-BD60-92592F64E45C}" destId="{F3BED557-5913-464D-BD25-2BBDF5E56903}" srcOrd="13" destOrd="0" presId="urn:microsoft.com/office/officeart/2005/8/layout/target3"/>
    <dgm:cxn modelId="{A78F3930-A93F-47E8-9026-9329F77D8902}" type="presParOf" srcId="{5E8589A2-6531-4A53-BD60-92592F64E45C}" destId="{06B73B8E-7F0B-4389-A86C-4539C4899E1B}" srcOrd="14" destOrd="0" presId="urn:microsoft.com/office/officeart/2005/8/layout/target3"/>
    <dgm:cxn modelId="{55C38F75-2DA6-4562-BCDA-6C4E46069E8D}" type="presParOf" srcId="{5E8589A2-6531-4A53-BD60-92592F64E45C}" destId="{62C7F868-7A74-4568-982D-4608A7236F9F}" srcOrd="15" destOrd="0" presId="urn:microsoft.com/office/officeart/2005/8/layout/target3"/>
    <dgm:cxn modelId="{CAC73D53-98AC-445D-87B6-0AE890F5DDFE}" type="presParOf" srcId="{5E8589A2-6531-4A53-BD60-92592F64E45C}" destId="{0B3F2BF9-964B-43F9-A3B5-1C4863123D0B}" srcOrd="16" destOrd="0" presId="urn:microsoft.com/office/officeart/2005/8/layout/target3"/>
    <dgm:cxn modelId="{19CE23C9-DD58-4D07-AB7D-79741E56F512}" type="presParOf" srcId="{5E8589A2-6531-4A53-BD60-92592F64E45C}" destId="{5340957F-9391-4A39-A605-6731C0765204}" srcOrd="17" destOrd="0" presId="urn:microsoft.com/office/officeart/2005/8/layout/target3"/>
    <dgm:cxn modelId="{5569E1E9-2277-4C3B-9932-39907C20A4B0}" type="presParOf" srcId="{5E8589A2-6531-4A53-BD60-92592F64E45C}" destId="{78202B18-ACE7-4FC7-A116-05D93EB3137F}" srcOrd="18" destOrd="0" presId="urn:microsoft.com/office/officeart/2005/8/layout/target3"/>
    <dgm:cxn modelId="{F5799995-6527-4428-BB79-17C8F68DBBEA}" type="presParOf" srcId="{5E8589A2-6531-4A53-BD60-92592F64E45C}" destId="{7B503699-BED9-4C34-B607-65B0321F573E}" srcOrd="19" destOrd="0" presId="urn:microsoft.com/office/officeart/2005/8/layout/target3"/>
    <dgm:cxn modelId="{F20B8923-550E-48DB-91A8-181512F491E5}" type="presParOf" srcId="{5E8589A2-6531-4A53-BD60-92592F64E45C}" destId="{364A13D7-D8E8-4EA2-9D9A-8BC4EC6F556F}" srcOrd="20" destOrd="0" presId="urn:microsoft.com/office/officeart/2005/8/layout/target3"/>
    <dgm:cxn modelId="{25A93321-CBE3-4ECB-A294-79B0B274284B}" type="presParOf" srcId="{5E8589A2-6531-4A53-BD60-92592F64E45C}" destId="{7C7FA954-A287-44D3-AD6A-DE2B35FE234E}" srcOrd="21" destOrd="0" presId="urn:microsoft.com/office/officeart/2005/8/layout/target3"/>
    <dgm:cxn modelId="{4DEAFDC6-257D-4612-BF70-020D5A486B96}" type="presParOf" srcId="{5E8589A2-6531-4A53-BD60-92592F64E45C}" destId="{0940D7ED-4C98-4BCD-A8B8-09196C433FAB}" srcOrd="22" destOrd="0" presId="urn:microsoft.com/office/officeart/2005/8/layout/target3"/>
    <dgm:cxn modelId="{B4484870-0FC6-43EE-8D50-3C7790C66E74}" type="presParOf" srcId="{5E8589A2-6531-4A53-BD60-92592F64E45C}" destId="{88FD66F4-E44C-471C-944E-4A29AFBAC5B0}" srcOrd="23" destOrd="0" presId="urn:microsoft.com/office/officeart/2005/8/layout/target3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9FE5C70-654E-43EC-B39A-125BA86B4BE1}" type="doc">
      <dgm:prSet loTypeId="urn:microsoft.com/office/officeart/2009/3/layout/PlusandMinus" loCatId="relationship" qsTypeId="urn:microsoft.com/office/officeart/2005/8/quickstyle/simple3" qsCatId="simple" csTypeId="urn:microsoft.com/office/officeart/2005/8/colors/accent2_4" csCatId="accent2" phldr="1"/>
      <dgm:spPr/>
      <dgm:t>
        <a:bodyPr/>
        <a:lstStyle/>
        <a:p>
          <a:endParaRPr lang="ru-RU"/>
        </a:p>
      </dgm:t>
    </dgm:pt>
    <dgm:pt modelId="{720C2FD5-D9C0-48E5-A1CD-B680181F795A}">
      <dgm:prSet phldrT="[Текст]"/>
      <dgm:spPr/>
      <dgm:t>
        <a:bodyPr/>
        <a:lstStyle/>
        <a:p>
          <a:r>
            <a:rPr lang="uk-UA" altLang="ru-RU" smtClean="0">
              <a:latin typeface="+mn-lt"/>
            </a:rPr>
            <a:t>Чітке уявлення вихідного коду сторінки і сайту</a:t>
          </a:r>
        </a:p>
        <a:p>
          <a:r>
            <a:rPr lang="uk-UA" altLang="ru-RU" smtClean="0">
              <a:latin typeface="+mn-lt"/>
            </a:rPr>
            <a:t>Наявність потрібних тегів в коді сторінки, без «сміття» </a:t>
          </a:r>
        </a:p>
        <a:p>
          <a:r>
            <a:rPr lang="uk-UA" altLang="ru-RU" smtClean="0">
              <a:latin typeface="+mn-lt"/>
            </a:rPr>
            <a:t>Можливість вибору конструкції верстки </a:t>
          </a:r>
          <a:endParaRPr lang="ru-RU" dirty="0"/>
        </a:p>
      </dgm:t>
    </dgm:pt>
    <dgm:pt modelId="{6EB0659E-7FF7-44E1-946E-75695D136BB4}" type="parTrans" cxnId="{6CB50E6B-6011-4815-9705-44E5573C22BD}">
      <dgm:prSet/>
      <dgm:spPr/>
      <dgm:t>
        <a:bodyPr/>
        <a:lstStyle/>
        <a:p>
          <a:endParaRPr lang="ru-RU"/>
        </a:p>
      </dgm:t>
    </dgm:pt>
    <dgm:pt modelId="{345BCD7F-5A63-4BBE-8F9A-B907CD53B8E1}" type="sibTrans" cxnId="{6CB50E6B-6011-4815-9705-44E5573C22BD}">
      <dgm:prSet/>
      <dgm:spPr/>
      <dgm:t>
        <a:bodyPr/>
        <a:lstStyle/>
        <a:p>
          <a:endParaRPr lang="ru-RU"/>
        </a:p>
      </dgm:t>
    </dgm:pt>
    <dgm:pt modelId="{BCEEB1BC-15CA-41D1-9083-1F7ECE8E355C}">
      <dgm:prSet phldrT="[Текст]"/>
      <dgm:spPr/>
      <dgm:t>
        <a:bodyPr/>
        <a:lstStyle/>
        <a:p>
          <a:r>
            <a:rPr lang="uk-UA" dirty="0" smtClean="0">
              <a:latin typeface="+mn-lt"/>
            </a:rPr>
            <a:t>Потреба в знанні</a:t>
          </a:r>
          <a:r>
            <a:rPr lang="en-US" dirty="0" smtClean="0">
              <a:latin typeface="+mn-lt"/>
            </a:rPr>
            <a:t> HTML</a:t>
          </a:r>
          <a:endParaRPr lang="uk-UA" dirty="0" smtClean="0">
            <a:latin typeface="+mn-lt"/>
          </a:endParaRPr>
        </a:p>
        <a:p>
          <a:r>
            <a:rPr lang="uk-UA" altLang="ru-RU" dirty="0" smtClean="0">
              <a:latin typeface="+mn-lt"/>
            </a:rPr>
            <a:t>Більше часу на написання коду</a:t>
          </a:r>
        </a:p>
        <a:p>
          <a:r>
            <a:rPr lang="uk-UA" altLang="ru-RU" dirty="0" smtClean="0">
              <a:latin typeface="+mn-lt"/>
            </a:rPr>
            <a:t>Відсутність візуального перегляду сторінки (текстові редактори) </a:t>
          </a:r>
        </a:p>
        <a:p>
          <a:r>
            <a:rPr lang="uk-UA" altLang="ru-RU" dirty="0" smtClean="0">
              <a:latin typeface="+mn-lt"/>
            </a:rPr>
            <a:t>Особливості дизайну</a:t>
          </a:r>
          <a:endParaRPr lang="ru-RU" dirty="0"/>
        </a:p>
      </dgm:t>
    </dgm:pt>
    <dgm:pt modelId="{84BA3BC7-EA3C-40B4-AFBE-1EBA390A1BEB}" type="parTrans" cxnId="{2130960C-0A91-40A0-ACC3-DDBA6F2BF075}">
      <dgm:prSet/>
      <dgm:spPr/>
      <dgm:t>
        <a:bodyPr/>
        <a:lstStyle/>
        <a:p>
          <a:endParaRPr lang="ru-RU"/>
        </a:p>
      </dgm:t>
    </dgm:pt>
    <dgm:pt modelId="{ACA21F23-1CBB-4118-9091-586FCA81C95E}" type="sibTrans" cxnId="{2130960C-0A91-40A0-ACC3-DDBA6F2BF075}">
      <dgm:prSet/>
      <dgm:spPr/>
      <dgm:t>
        <a:bodyPr/>
        <a:lstStyle/>
        <a:p>
          <a:endParaRPr lang="ru-RU"/>
        </a:p>
      </dgm:t>
    </dgm:pt>
    <dgm:pt modelId="{46A8643C-BC21-4592-98D6-DF5E28359786}" type="pres">
      <dgm:prSet presAssocID="{89FE5C70-654E-43EC-B39A-125BA86B4BE1}" presName="Name0" presStyleCnt="0">
        <dgm:presLayoutVars>
          <dgm:chMax val="2"/>
          <dgm:chPref val="2"/>
          <dgm:dir/>
          <dgm:animOne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24B981-47F0-4B57-8CAF-0A98B8808807}" type="pres">
      <dgm:prSet presAssocID="{89FE5C70-654E-43EC-B39A-125BA86B4BE1}" presName="Background" presStyleLbl="bgImgPlace1" presStyleIdx="0" presStyleCnt="1"/>
      <dgm:spPr/>
    </dgm:pt>
    <dgm:pt modelId="{89FF5BE3-DCF3-473C-8223-46023B3F1F99}" type="pres">
      <dgm:prSet presAssocID="{89FE5C70-654E-43EC-B39A-125BA86B4BE1}" presName="ParentText1" presStyleLbl="revTx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37A895-E944-4992-9B31-D6269035A8F1}" type="pres">
      <dgm:prSet presAssocID="{89FE5C70-654E-43EC-B39A-125BA86B4BE1}" presName="ParentText2" presStyleLbl="revTx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7D5F39-9D07-431A-BD40-315625C3E78C}" type="pres">
      <dgm:prSet presAssocID="{89FE5C70-654E-43EC-B39A-125BA86B4BE1}" presName="Plus" presStyleLbl="alignNode1" presStyleIdx="0" presStyleCnt="2"/>
      <dgm:spPr/>
    </dgm:pt>
    <dgm:pt modelId="{C8977523-8F57-4A82-B2EC-4716F4AE95E9}" type="pres">
      <dgm:prSet presAssocID="{89FE5C70-654E-43EC-B39A-125BA86B4BE1}" presName="Minus" presStyleLbl="alignNode1" presStyleIdx="1" presStyleCnt="2"/>
      <dgm:spPr/>
    </dgm:pt>
    <dgm:pt modelId="{09D8527C-F867-4798-90AD-62178D177EB8}" type="pres">
      <dgm:prSet presAssocID="{89FE5C70-654E-43EC-B39A-125BA86B4BE1}" presName="Divider" presStyleLbl="parChTrans1D1" presStyleIdx="0" presStyleCnt="1"/>
      <dgm:spPr/>
    </dgm:pt>
  </dgm:ptLst>
  <dgm:cxnLst>
    <dgm:cxn modelId="{6CB50E6B-6011-4815-9705-44E5573C22BD}" srcId="{89FE5C70-654E-43EC-B39A-125BA86B4BE1}" destId="{720C2FD5-D9C0-48E5-A1CD-B680181F795A}" srcOrd="0" destOrd="0" parTransId="{6EB0659E-7FF7-44E1-946E-75695D136BB4}" sibTransId="{345BCD7F-5A63-4BBE-8F9A-B907CD53B8E1}"/>
    <dgm:cxn modelId="{2671CEDC-ECCD-4F82-B90E-3F4A566DD430}" type="presOf" srcId="{BCEEB1BC-15CA-41D1-9083-1F7ECE8E355C}" destId="{5537A895-E944-4992-9B31-D6269035A8F1}" srcOrd="0" destOrd="0" presId="urn:microsoft.com/office/officeart/2009/3/layout/PlusandMinus"/>
    <dgm:cxn modelId="{AF24B677-8280-4D72-AAF1-005C858D23AC}" type="presOf" srcId="{720C2FD5-D9C0-48E5-A1CD-B680181F795A}" destId="{89FF5BE3-DCF3-473C-8223-46023B3F1F99}" srcOrd="0" destOrd="0" presId="urn:microsoft.com/office/officeart/2009/3/layout/PlusandMinus"/>
    <dgm:cxn modelId="{A9CDAFB9-DDD5-4974-971C-01AB63F59732}" type="presOf" srcId="{89FE5C70-654E-43EC-B39A-125BA86B4BE1}" destId="{46A8643C-BC21-4592-98D6-DF5E28359786}" srcOrd="0" destOrd="0" presId="urn:microsoft.com/office/officeart/2009/3/layout/PlusandMinus"/>
    <dgm:cxn modelId="{2130960C-0A91-40A0-ACC3-DDBA6F2BF075}" srcId="{89FE5C70-654E-43EC-B39A-125BA86B4BE1}" destId="{BCEEB1BC-15CA-41D1-9083-1F7ECE8E355C}" srcOrd="1" destOrd="0" parTransId="{84BA3BC7-EA3C-40B4-AFBE-1EBA390A1BEB}" sibTransId="{ACA21F23-1CBB-4118-9091-586FCA81C95E}"/>
    <dgm:cxn modelId="{B6D0B830-3C4A-48F1-9008-4F2263FCC290}" type="presParOf" srcId="{46A8643C-BC21-4592-98D6-DF5E28359786}" destId="{8924B981-47F0-4B57-8CAF-0A98B8808807}" srcOrd="0" destOrd="0" presId="urn:microsoft.com/office/officeart/2009/3/layout/PlusandMinus"/>
    <dgm:cxn modelId="{D5906DDD-865C-4903-9C6E-527DF2D2703F}" type="presParOf" srcId="{46A8643C-BC21-4592-98D6-DF5E28359786}" destId="{89FF5BE3-DCF3-473C-8223-46023B3F1F99}" srcOrd="1" destOrd="0" presId="urn:microsoft.com/office/officeart/2009/3/layout/PlusandMinus"/>
    <dgm:cxn modelId="{3D46D906-7188-4876-B8E8-23D589FE374B}" type="presParOf" srcId="{46A8643C-BC21-4592-98D6-DF5E28359786}" destId="{5537A895-E944-4992-9B31-D6269035A8F1}" srcOrd="2" destOrd="0" presId="urn:microsoft.com/office/officeart/2009/3/layout/PlusandMinus"/>
    <dgm:cxn modelId="{2D89DE6B-BBB5-4691-A0D8-5B152719C090}" type="presParOf" srcId="{46A8643C-BC21-4592-98D6-DF5E28359786}" destId="{3F7D5F39-9D07-431A-BD40-315625C3E78C}" srcOrd="3" destOrd="0" presId="urn:microsoft.com/office/officeart/2009/3/layout/PlusandMinus"/>
    <dgm:cxn modelId="{BB3E1FA5-079B-45B2-B2F2-F2DBA744F27D}" type="presParOf" srcId="{46A8643C-BC21-4592-98D6-DF5E28359786}" destId="{C8977523-8F57-4A82-B2EC-4716F4AE95E9}" srcOrd="4" destOrd="0" presId="urn:microsoft.com/office/officeart/2009/3/layout/PlusandMinus"/>
    <dgm:cxn modelId="{2734F46A-AD35-44C4-922C-EC7AA4932319}" type="presParOf" srcId="{46A8643C-BC21-4592-98D6-DF5E28359786}" destId="{09D8527C-F867-4798-90AD-62178D177EB8}" srcOrd="5" destOrd="0" presId="urn:microsoft.com/office/officeart/2009/3/layout/PlusandMinus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E375E4D-D8B6-4E69-94EB-13BDE6614AE2}" type="doc">
      <dgm:prSet loTypeId="urn:microsoft.com/office/officeart/2005/8/layout/hierarchy4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295CF7C5-8D01-4120-A55A-6AD5CCFF2B87}">
      <dgm:prSet phldrT="[Текст]"/>
      <dgm:spPr>
        <a:ln w="28575">
          <a:solidFill>
            <a:schemeClr val="bg1"/>
          </a:solidFill>
        </a:ln>
      </dgm:spPr>
      <dgm:t>
        <a:bodyPr/>
        <a:lstStyle/>
        <a:p>
          <a:r>
            <a:rPr lang="ru-RU" b="1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Програми</a:t>
          </a:r>
          <a:r>
            <a:rPr lang="ru-RU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 </a:t>
          </a:r>
          <a:r>
            <a:rPr lang="ru-RU" b="1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створення</a:t>
          </a:r>
          <a:r>
            <a:rPr lang="ru-RU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 </a:t>
          </a:r>
          <a:r>
            <a:rPr lang="ru-RU" b="1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веб-сторінок</a:t>
          </a:r>
          <a:endParaRPr lang="ru-RU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C7194F0-A76B-4459-B9C8-D977AEA54903}" type="parTrans" cxnId="{ADB3C63E-49A3-4034-AC44-CDA4B7798972}">
      <dgm:prSet/>
      <dgm:spPr/>
      <dgm:t>
        <a:bodyPr/>
        <a:lstStyle/>
        <a:p>
          <a:endParaRPr lang="ru-RU"/>
        </a:p>
      </dgm:t>
    </dgm:pt>
    <dgm:pt modelId="{A48F2770-AF8B-49B6-83F1-71FDC74551B2}" type="sibTrans" cxnId="{ADB3C63E-49A3-4034-AC44-CDA4B7798972}">
      <dgm:prSet/>
      <dgm:spPr/>
      <dgm:t>
        <a:bodyPr/>
        <a:lstStyle/>
        <a:p>
          <a:endParaRPr lang="ru-RU"/>
        </a:p>
      </dgm:t>
    </dgm:pt>
    <dgm:pt modelId="{EB915D09-5ED0-423F-AE4C-A0C1A972A39B}">
      <dgm:prSet phldrT="[Текст]" custT="1"/>
      <dgm:spPr>
        <a:ln w="38100">
          <a:solidFill>
            <a:schemeClr val="bg1"/>
          </a:solidFill>
        </a:ln>
      </dgm:spPr>
      <dgm:t>
        <a:bodyPr/>
        <a:lstStyle/>
        <a:p>
          <a:r>
            <a:rPr lang="ru-RU" sz="1800" b="1" i="0" dirty="0" err="1" smtClean="0"/>
            <a:t>Текстові</a:t>
          </a:r>
          <a:r>
            <a:rPr lang="ru-RU" sz="1800" b="1" dirty="0" smtClean="0"/>
            <a:t/>
          </a:r>
          <a:br>
            <a:rPr lang="ru-RU" sz="1800" b="1" dirty="0" smtClean="0"/>
          </a:br>
          <a:r>
            <a:rPr lang="ru-RU" sz="1800" b="1" i="0" dirty="0" err="1" smtClean="0"/>
            <a:t>редактори</a:t>
          </a:r>
          <a:endParaRPr lang="ru-RU" sz="1800" b="1" dirty="0"/>
        </a:p>
      </dgm:t>
    </dgm:pt>
    <dgm:pt modelId="{D154BCC2-AB9A-4D42-BFEF-762FF6C70FC6}" type="parTrans" cxnId="{E242746F-70C3-4A0E-A3CC-CB27EC434694}">
      <dgm:prSet/>
      <dgm:spPr/>
      <dgm:t>
        <a:bodyPr/>
        <a:lstStyle/>
        <a:p>
          <a:endParaRPr lang="ru-RU"/>
        </a:p>
      </dgm:t>
    </dgm:pt>
    <dgm:pt modelId="{58483641-C84B-46E5-9425-23FB1FC82A02}" type="sibTrans" cxnId="{E242746F-70C3-4A0E-A3CC-CB27EC434694}">
      <dgm:prSet/>
      <dgm:spPr/>
      <dgm:t>
        <a:bodyPr/>
        <a:lstStyle/>
        <a:p>
          <a:endParaRPr lang="ru-RU"/>
        </a:p>
      </dgm:t>
    </dgm:pt>
    <dgm:pt modelId="{4A66305E-960A-4C6E-A29B-0D2AC55BEE70}">
      <dgm:prSet phldrT="[Текст]" custT="1"/>
      <dgm:spPr>
        <a:ln w="38100">
          <a:solidFill>
            <a:schemeClr val="bg1"/>
          </a:solidFill>
        </a:ln>
      </dgm:spPr>
      <dgm:t>
        <a:bodyPr/>
        <a:lstStyle/>
        <a:p>
          <a:r>
            <a:rPr lang="en-US" sz="1800" b="1" i="0" dirty="0" smtClean="0"/>
            <a:t>HTML</a:t>
          </a:r>
          <a:r>
            <a:rPr lang="ru-RU" sz="1800" b="1" i="0" dirty="0" err="1" smtClean="0"/>
            <a:t>редактори</a:t>
          </a:r>
          <a:endParaRPr lang="ru-RU" sz="1800" b="1" dirty="0"/>
        </a:p>
      </dgm:t>
    </dgm:pt>
    <dgm:pt modelId="{A1129D29-ACA9-4F43-820E-8C694805AC69}" type="parTrans" cxnId="{56ADF5AF-6C9B-4D2F-B926-D08A5FBDFEAD}">
      <dgm:prSet/>
      <dgm:spPr/>
      <dgm:t>
        <a:bodyPr/>
        <a:lstStyle/>
        <a:p>
          <a:endParaRPr lang="ru-RU"/>
        </a:p>
      </dgm:t>
    </dgm:pt>
    <dgm:pt modelId="{A2915A33-2F60-4335-BB64-BF6D7EB9E1D5}" type="sibTrans" cxnId="{56ADF5AF-6C9B-4D2F-B926-D08A5FBDFEAD}">
      <dgm:prSet/>
      <dgm:spPr/>
      <dgm:t>
        <a:bodyPr/>
        <a:lstStyle/>
        <a:p>
          <a:endParaRPr lang="ru-RU"/>
        </a:p>
      </dgm:t>
    </dgm:pt>
    <dgm:pt modelId="{FA3F66E2-EDA0-49CD-B10F-EBFE4C7E1117}">
      <dgm:prSet phldrT="[Текст]" custT="1"/>
      <dgm:spPr>
        <a:ln w="38100">
          <a:solidFill>
            <a:schemeClr val="bg1"/>
          </a:solidFill>
        </a:ln>
      </dgm:spPr>
      <dgm:t>
        <a:bodyPr/>
        <a:lstStyle/>
        <a:p>
          <a:r>
            <a:rPr lang="ru-RU" sz="1800" b="1" i="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Текстові</a:t>
          </a:r>
          <a:endParaRPr lang="ru-RU" sz="18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4D3104A2-7B00-45B5-9761-E5D903949402}" type="parTrans" cxnId="{CF41A38E-EB28-4B43-A08F-F1966EA97ECF}">
      <dgm:prSet/>
      <dgm:spPr/>
      <dgm:t>
        <a:bodyPr/>
        <a:lstStyle/>
        <a:p>
          <a:endParaRPr lang="ru-RU"/>
        </a:p>
      </dgm:t>
    </dgm:pt>
    <dgm:pt modelId="{209A2501-9A6B-4C5D-8214-87FAB8C0B850}" type="sibTrans" cxnId="{CF41A38E-EB28-4B43-A08F-F1966EA97ECF}">
      <dgm:prSet/>
      <dgm:spPr/>
      <dgm:t>
        <a:bodyPr/>
        <a:lstStyle/>
        <a:p>
          <a:endParaRPr lang="ru-RU"/>
        </a:p>
      </dgm:t>
    </dgm:pt>
    <dgm:pt modelId="{86843F55-42BA-42E9-B6D3-7418DA829B79}">
      <dgm:prSet custT="1"/>
      <dgm:spPr>
        <a:ln w="38100">
          <a:solidFill>
            <a:schemeClr val="bg1"/>
          </a:solidFill>
        </a:ln>
      </dgm:spPr>
      <dgm:t>
        <a:bodyPr/>
        <a:lstStyle/>
        <a:p>
          <a:r>
            <a:rPr lang="ru-RU" sz="1800" b="1" i="0" smtClean="0"/>
            <a:t>Текстові</a:t>
          </a:r>
          <a:r>
            <a:rPr lang="ru-RU" sz="1800" b="1" smtClean="0"/>
            <a:t/>
          </a:r>
          <a:br>
            <a:rPr lang="ru-RU" sz="1800" b="1" smtClean="0"/>
          </a:br>
          <a:r>
            <a:rPr lang="ru-RU" sz="1800" b="1" i="0" smtClean="0"/>
            <a:t>процесори</a:t>
          </a:r>
          <a:endParaRPr lang="ru-RU" sz="1800" b="1"/>
        </a:p>
      </dgm:t>
    </dgm:pt>
    <dgm:pt modelId="{C93514CF-8D22-4126-A7BB-E7E193BD121E}" type="parTrans" cxnId="{EAB64BCD-199A-45EB-85C4-2C615A946F39}">
      <dgm:prSet/>
      <dgm:spPr/>
      <dgm:t>
        <a:bodyPr/>
        <a:lstStyle/>
        <a:p>
          <a:endParaRPr lang="ru-RU"/>
        </a:p>
      </dgm:t>
    </dgm:pt>
    <dgm:pt modelId="{95DF7638-6EAC-4F49-B91C-4A48AA2AED1B}" type="sibTrans" cxnId="{EAB64BCD-199A-45EB-85C4-2C615A946F39}">
      <dgm:prSet/>
      <dgm:spPr/>
      <dgm:t>
        <a:bodyPr/>
        <a:lstStyle/>
        <a:p>
          <a:endParaRPr lang="ru-RU"/>
        </a:p>
      </dgm:t>
    </dgm:pt>
    <dgm:pt modelId="{23A88E12-FE19-4EC8-B32F-C8C443641BD6}">
      <dgm:prSet phldrT="[Текст]" custT="1"/>
      <dgm:spPr>
        <a:ln w="38100">
          <a:solidFill>
            <a:schemeClr val="bg1"/>
          </a:solidFill>
        </a:ln>
      </dgm:spPr>
      <dgm:t>
        <a:bodyPr/>
        <a:lstStyle/>
        <a:p>
          <a:r>
            <a:rPr lang="ru-RU" sz="1800" b="1" i="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Графічні</a:t>
          </a:r>
          <a:endParaRPr lang="ru-RU" sz="1800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7B9B819-0E8F-48E5-839F-7874C9E9B8DC}" type="parTrans" cxnId="{C5F66F71-F210-4FFC-89B7-9C753CFB1FB0}">
      <dgm:prSet/>
      <dgm:spPr/>
      <dgm:t>
        <a:bodyPr/>
        <a:lstStyle/>
        <a:p>
          <a:endParaRPr lang="ru-RU"/>
        </a:p>
      </dgm:t>
    </dgm:pt>
    <dgm:pt modelId="{151D5C63-8780-4068-A6F4-D91D8BC6D205}" type="sibTrans" cxnId="{C5F66F71-F210-4FFC-89B7-9C753CFB1FB0}">
      <dgm:prSet/>
      <dgm:spPr/>
      <dgm:t>
        <a:bodyPr/>
        <a:lstStyle/>
        <a:p>
          <a:endParaRPr lang="ru-RU"/>
        </a:p>
      </dgm:t>
    </dgm:pt>
    <dgm:pt modelId="{06AF0EE4-6FC5-43D7-B2E0-5D4A4430DA53}" type="pres">
      <dgm:prSet presAssocID="{2E375E4D-D8B6-4E69-94EB-13BDE6614AE2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582F01B-B21C-4B79-A580-9365D4E2DE4D}" type="pres">
      <dgm:prSet presAssocID="{295CF7C5-8D01-4120-A55A-6AD5CCFF2B87}" presName="vertOne" presStyleCnt="0"/>
      <dgm:spPr/>
    </dgm:pt>
    <dgm:pt modelId="{048872F7-F2D7-40C4-907E-97B61A01F709}" type="pres">
      <dgm:prSet presAssocID="{295CF7C5-8D01-4120-A55A-6AD5CCFF2B87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5B7DFE5-155F-4E09-A399-5AECD78BBFFB}" type="pres">
      <dgm:prSet presAssocID="{295CF7C5-8D01-4120-A55A-6AD5CCFF2B87}" presName="parTransOne" presStyleCnt="0"/>
      <dgm:spPr/>
    </dgm:pt>
    <dgm:pt modelId="{07E5AAC2-0520-472A-B28E-F2AB525C59D4}" type="pres">
      <dgm:prSet presAssocID="{295CF7C5-8D01-4120-A55A-6AD5CCFF2B87}" presName="horzOne" presStyleCnt="0"/>
      <dgm:spPr/>
    </dgm:pt>
    <dgm:pt modelId="{448973AD-8B2E-4D9F-894A-9D65DE5A02BF}" type="pres">
      <dgm:prSet presAssocID="{EB915D09-5ED0-423F-AE4C-A0C1A972A39B}" presName="vertTwo" presStyleCnt="0"/>
      <dgm:spPr/>
    </dgm:pt>
    <dgm:pt modelId="{14F995B4-61D9-4B76-BDEF-DB5B1FE15A11}" type="pres">
      <dgm:prSet presAssocID="{EB915D09-5ED0-423F-AE4C-A0C1A972A39B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D7A2E06-B3FF-4D5E-84F4-C284F9308408}" type="pres">
      <dgm:prSet presAssocID="{EB915D09-5ED0-423F-AE4C-A0C1A972A39B}" presName="horzTwo" presStyleCnt="0"/>
      <dgm:spPr/>
    </dgm:pt>
    <dgm:pt modelId="{F23D3777-CAE2-45EA-BA02-EFD8F1806BEA}" type="pres">
      <dgm:prSet presAssocID="{58483641-C84B-46E5-9425-23FB1FC82A02}" presName="sibSpaceTwo" presStyleCnt="0"/>
      <dgm:spPr/>
    </dgm:pt>
    <dgm:pt modelId="{5977721D-226B-4361-9A4C-FE741BA356FB}" type="pres">
      <dgm:prSet presAssocID="{86843F55-42BA-42E9-B6D3-7418DA829B79}" presName="vertTwo" presStyleCnt="0"/>
      <dgm:spPr/>
    </dgm:pt>
    <dgm:pt modelId="{097253BF-4ECB-4090-8400-0FB48EB76F7C}" type="pres">
      <dgm:prSet presAssocID="{86843F55-42BA-42E9-B6D3-7418DA829B79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FCCC6B1-8D6C-495D-B2F9-FB638CB21980}" type="pres">
      <dgm:prSet presAssocID="{86843F55-42BA-42E9-B6D3-7418DA829B79}" presName="horzTwo" presStyleCnt="0"/>
      <dgm:spPr/>
    </dgm:pt>
    <dgm:pt modelId="{B4651EAE-0AC8-4B37-9EDA-47EF602C4910}" type="pres">
      <dgm:prSet presAssocID="{95DF7638-6EAC-4F49-B91C-4A48AA2AED1B}" presName="sibSpaceTwo" presStyleCnt="0"/>
      <dgm:spPr/>
    </dgm:pt>
    <dgm:pt modelId="{F20DFF27-2DFD-4D11-BB1F-A75E127F0D56}" type="pres">
      <dgm:prSet presAssocID="{4A66305E-960A-4C6E-A29B-0D2AC55BEE70}" presName="vertTwo" presStyleCnt="0"/>
      <dgm:spPr/>
    </dgm:pt>
    <dgm:pt modelId="{7D615A53-7D24-4830-B8EA-4AE971289824}" type="pres">
      <dgm:prSet presAssocID="{4A66305E-960A-4C6E-A29B-0D2AC55BEE70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760D783-335C-4579-BF35-4842439B5612}" type="pres">
      <dgm:prSet presAssocID="{4A66305E-960A-4C6E-A29B-0D2AC55BEE70}" presName="parTransTwo" presStyleCnt="0"/>
      <dgm:spPr/>
    </dgm:pt>
    <dgm:pt modelId="{8609E6B5-EF96-4661-A574-0380F2002151}" type="pres">
      <dgm:prSet presAssocID="{4A66305E-960A-4C6E-A29B-0D2AC55BEE70}" presName="horzTwo" presStyleCnt="0"/>
      <dgm:spPr/>
    </dgm:pt>
    <dgm:pt modelId="{6AA7A607-8060-4A20-8BD0-9E45000DFFF9}" type="pres">
      <dgm:prSet presAssocID="{FA3F66E2-EDA0-49CD-B10F-EBFE4C7E1117}" presName="vertThree" presStyleCnt="0"/>
      <dgm:spPr/>
    </dgm:pt>
    <dgm:pt modelId="{6A9B2414-3214-4675-B4DC-86BB51111228}" type="pres">
      <dgm:prSet presAssocID="{FA3F66E2-EDA0-49CD-B10F-EBFE4C7E1117}" presName="txThree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AB550DD-14D4-4BDC-B753-328F2F654C51}" type="pres">
      <dgm:prSet presAssocID="{FA3F66E2-EDA0-49CD-B10F-EBFE4C7E1117}" presName="horzThree" presStyleCnt="0"/>
      <dgm:spPr/>
    </dgm:pt>
    <dgm:pt modelId="{E578B3AB-F173-439B-BE59-6D7157634597}" type="pres">
      <dgm:prSet presAssocID="{209A2501-9A6B-4C5D-8214-87FAB8C0B850}" presName="sibSpaceThree" presStyleCnt="0"/>
      <dgm:spPr/>
    </dgm:pt>
    <dgm:pt modelId="{6C506C8F-6788-422B-84B5-027A0589ED55}" type="pres">
      <dgm:prSet presAssocID="{23A88E12-FE19-4EC8-B32F-C8C443641BD6}" presName="vertThree" presStyleCnt="0"/>
      <dgm:spPr/>
    </dgm:pt>
    <dgm:pt modelId="{10A8D4CB-383B-49FC-8A1A-4929D88AA281}" type="pres">
      <dgm:prSet presAssocID="{23A88E12-FE19-4EC8-B32F-C8C443641BD6}" presName="txThree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9962DD7-5DF1-41A7-8EED-C209744D561C}" type="pres">
      <dgm:prSet presAssocID="{23A88E12-FE19-4EC8-B32F-C8C443641BD6}" presName="horzThree" presStyleCnt="0"/>
      <dgm:spPr/>
    </dgm:pt>
  </dgm:ptLst>
  <dgm:cxnLst>
    <dgm:cxn modelId="{85990B5D-58A1-4A5A-AED8-8B38AEF80F5E}" type="presOf" srcId="{23A88E12-FE19-4EC8-B32F-C8C443641BD6}" destId="{10A8D4CB-383B-49FC-8A1A-4929D88AA281}" srcOrd="0" destOrd="0" presId="urn:microsoft.com/office/officeart/2005/8/layout/hierarchy4"/>
    <dgm:cxn modelId="{E242746F-70C3-4A0E-A3CC-CB27EC434694}" srcId="{295CF7C5-8D01-4120-A55A-6AD5CCFF2B87}" destId="{EB915D09-5ED0-423F-AE4C-A0C1A972A39B}" srcOrd="0" destOrd="0" parTransId="{D154BCC2-AB9A-4D42-BFEF-762FF6C70FC6}" sibTransId="{58483641-C84B-46E5-9425-23FB1FC82A02}"/>
    <dgm:cxn modelId="{7F437BDE-3AA0-414E-BC9B-22D845458246}" type="presOf" srcId="{4A66305E-960A-4C6E-A29B-0D2AC55BEE70}" destId="{7D615A53-7D24-4830-B8EA-4AE971289824}" srcOrd="0" destOrd="0" presId="urn:microsoft.com/office/officeart/2005/8/layout/hierarchy4"/>
    <dgm:cxn modelId="{EAB64BCD-199A-45EB-85C4-2C615A946F39}" srcId="{295CF7C5-8D01-4120-A55A-6AD5CCFF2B87}" destId="{86843F55-42BA-42E9-B6D3-7418DA829B79}" srcOrd="1" destOrd="0" parTransId="{C93514CF-8D22-4126-A7BB-E7E193BD121E}" sibTransId="{95DF7638-6EAC-4F49-B91C-4A48AA2AED1B}"/>
    <dgm:cxn modelId="{56ADF5AF-6C9B-4D2F-B926-D08A5FBDFEAD}" srcId="{295CF7C5-8D01-4120-A55A-6AD5CCFF2B87}" destId="{4A66305E-960A-4C6E-A29B-0D2AC55BEE70}" srcOrd="2" destOrd="0" parTransId="{A1129D29-ACA9-4F43-820E-8C694805AC69}" sibTransId="{A2915A33-2F60-4335-BB64-BF6D7EB9E1D5}"/>
    <dgm:cxn modelId="{CF41A38E-EB28-4B43-A08F-F1966EA97ECF}" srcId="{4A66305E-960A-4C6E-A29B-0D2AC55BEE70}" destId="{FA3F66E2-EDA0-49CD-B10F-EBFE4C7E1117}" srcOrd="0" destOrd="0" parTransId="{4D3104A2-7B00-45B5-9761-E5D903949402}" sibTransId="{209A2501-9A6B-4C5D-8214-87FAB8C0B850}"/>
    <dgm:cxn modelId="{E4DC4201-3FAD-4177-91FB-A52DFFE1ADCB}" type="presOf" srcId="{86843F55-42BA-42E9-B6D3-7418DA829B79}" destId="{097253BF-4ECB-4090-8400-0FB48EB76F7C}" srcOrd="0" destOrd="0" presId="urn:microsoft.com/office/officeart/2005/8/layout/hierarchy4"/>
    <dgm:cxn modelId="{C5F66F71-F210-4FFC-89B7-9C753CFB1FB0}" srcId="{4A66305E-960A-4C6E-A29B-0D2AC55BEE70}" destId="{23A88E12-FE19-4EC8-B32F-C8C443641BD6}" srcOrd="1" destOrd="0" parTransId="{27B9B819-0E8F-48E5-839F-7874C9E9B8DC}" sibTransId="{151D5C63-8780-4068-A6F4-D91D8BC6D205}"/>
    <dgm:cxn modelId="{1390C863-8780-459C-B49C-7CD63C7F96B1}" type="presOf" srcId="{2E375E4D-D8B6-4E69-94EB-13BDE6614AE2}" destId="{06AF0EE4-6FC5-43D7-B2E0-5D4A4430DA53}" srcOrd="0" destOrd="0" presId="urn:microsoft.com/office/officeart/2005/8/layout/hierarchy4"/>
    <dgm:cxn modelId="{E5C7646F-1D2D-44BA-A45C-05AFFC027A70}" type="presOf" srcId="{EB915D09-5ED0-423F-AE4C-A0C1A972A39B}" destId="{14F995B4-61D9-4B76-BDEF-DB5B1FE15A11}" srcOrd="0" destOrd="0" presId="urn:microsoft.com/office/officeart/2005/8/layout/hierarchy4"/>
    <dgm:cxn modelId="{ADB3C63E-49A3-4034-AC44-CDA4B7798972}" srcId="{2E375E4D-D8B6-4E69-94EB-13BDE6614AE2}" destId="{295CF7C5-8D01-4120-A55A-6AD5CCFF2B87}" srcOrd="0" destOrd="0" parTransId="{9C7194F0-A76B-4459-B9C8-D977AEA54903}" sibTransId="{A48F2770-AF8B-49B6-83F1-71FDC74551B2}"/>
    <dgm:cxn modelId="{7487BA7C-D1A2-47DF-88A7-F0C34CA79F44}" type="presOf" srcId="{FA3F66E2-EDA0-49CD-B10F-EBFE4C7E1117}" destId="{6A9B2414-3214-4675-B4DC-86BB51111228}" srcOrd="0" destOrd="0" presId="urn:microsoft.com/office/officeart/2005/8/layout/hierarchy4"/>
    <dgm:cxn modelId="{258284D8-5D39-44C3-BF43-3118B73011DC}" type="presOf" srcId="{295CF7C5-8D01-4120-A55A-6AD5CCFF2B87}" destId="{048872F7-F2D7-40C4-907E-97B61A01F709}" srcOrd="0" destOrd="0" presId="urn:microsoft.com/office/officeart/2005/8/layout/hierarchy4"/>
    <dgm:cxn modelId="{39F09617-94B3-4668-A231-AF4D0630BC1B}" type="presParOf" srcId="{06AF0EE4-6FC5-43D7-B2E0-5D4A4430DA53}" destId="{B582F01B-B21C-4B79-A580-9365D4E2DE4D}" srcOrd="0" destOrd="0" presId="urn:microsoft.com/office/officeart/2005/8/layout/hierarchy4"/>
    <dgm:cxn modelId="{09ADB35B-8CFC-4C0D-8CF2-B1A78B37CE31}" type="presParOf" srcId="{B582F01B-B21C-4B79-A580-9365D4E2DE4D}" destId="{048872F7-F2D7-40C4-907E-97B61A01F709}" srcOrd="0" destOrd="0" presId="urn:microsoft.com/office/officeart/2005/8/layout/hierarchy4"/>
    <dgm:cxn modelId="{B72ECE8A-3CEE-4F85-B4EA-350F1B8573D8}" type="presParOf" srcId="{B582F01B-B21C-4B79-A580-9365D4E2DE4D}" destId="{15B7DFE5-155F-4E09-A399-5AECD78BBFFB}" srcOrd="1" destOrd="0" presId="urn:microsoft.com/office/officeart/2005/8/layout/hierarchy4"/>
    <dgm:cxn modelId="{3DE45B24-88DF-4985-B94F-3A82C4A3E2B6}" type="presParOf" srcId="{B582F01B-B21C-4B79-A580-9365D4E2DE4D}" destId="{07E5AAC2-0520-472A-B28E-F2AB525C59D4}" srcOrd="2" destOrd="0" presId="urn:microsoft.com/office/officeart/2005/8/layout/hierarchy4"/>
    <dgm:cxn modelId="{F4BDEF5F-D306-4745-A6F1-F122CF806D7E}" type="presParOf" srcId="{07E5AAC2-0520-472A-B28E-F2AB525C59D4}" destId="{448973AD-8B2E-4D9F-894A-9D65DE5A02BF}" srcOrd="0" destOrd="0" presId="urn:microsoft.com/office/officeart/2005/8/layout/hierarchy4"/>
    <dgm:cxn modelId="{FE4D0A24-133D-4CEA-93D7-A1AF134D6A9D}" type="presParOf" srcId="{448973AD-8B2E-4D9F-894A-9D65DE5A02BF}" destId="{14F995B4-61D9-4B76-BDEF-DB5B1FE15A11}" srcOrd="0" destOrd="0" presId="urn:microsoft.com/office/officeart/2005/8/layout/hierarchy4"/>
    <dgm:cxn modelId="{7988AA2E-A170-4E3B-AF60-B2D9E6BCFB16}" type="presParOf" srcId="{448973AD-8B2E-4D9F-894A-9D65DE5A02BF}" destId="{4D7A2E06-B3FF-4D5E-84F4-C284F9308408}" srcOrd="1" destOrd="0" presId="urn:microsoft.com/office/officeart/2005/8/layout/hierarchy4"/>
    <dgm:cxn modelId="{20DBA08D-6DA0-4AD5-9572-46BA5A8E54BA}" type="presParOf" srcId="{07E5AAC2-0520-472A-B28E-F2AB525C59D4}" destId="{F23D3777-CAE2-45EA-BA02-EFD8F1806BEA}" srcOrd="1" destOrd="0" presId="urn:microsoft.com/office/officeart/2005/8/layout/hierarchy4"/>
    <dgm:cxn modelId="{9D2F3B89-FBBB-4B5F-898B-319F00B5BD12}" type="presParOf" srcId="{07E5AAC2-0520-472A-B28E-F2AB525C59D4}" destId="{5977721D-226B-4361-9A4C-FE741BA356FB}" srcOrd="2" destOrd="0" presId="urn:microsoft.com/office/officeart/2005/8/layout/hierarchy4"/>
    <dgm:cxn modelId="{7812CFBA-04A9-4606-8F52-4516956C0202}" type="presParOf" srcId="{5977721D-226B-4361-9A4C-FE741BA356FB}" destId="{097253BF-4ECB-4090-8400-0FB48EB76F7C}" srcOrd="0" destOrd="0" presId="urn:microsoft.com/office/officeart/2005/8/layout/hierarchy4"/>
    <dgm:cxn modelId="{3799B4F7-18F3-4617-BF3E-65301154D201}" type="presParOf" srcId="{5977721D-226B-4361-9A4C-FE741BA356FB}" destId="{CFCCC6B1-8D6C-495D-B2F9-FB638CB21980}" srcOrd="1" destOrd="0" presId="urn:microsoft.com/office/officeart/2005/8/layout/hierarchy4"/>
    <dgm:cxn modelId="{645F2E7C-25FC-4FE3-8B91-2C74A18EE36C}" type="presParOf" srcId="{07E5AAC2-0520-472A-B28E-F2AB525C59D4}" destId="{B4651EAE-0AC8-4B37-9EDA-47EF602C4910}" srcOrd="3" destOrd="0" presId="urn:microsoft.com/office/officeart/2005/8/layout/hierarchy4"/>
    <dgm:cxn modelId="{2107D996-5CB3-4D76-A15A-CA9D69A4B853}" type="presParOf" srcId="{07E5AAC2-0520-472A-B28E-F2AB525C59D4}" destId="{F20DFF27-2DFD-4D11-BB1F-A75E127F0D56}" srcOrd="4" destOrd="0" presId="urn:microsoft.com/office/officeart/2005/8/layout/hierarchy4"/>
    <dgm:cxn modelId="{001197F5-751E-4D0A-8A31-90FE008E8A84}" type="presParOf" srcId="{F20DFF27-2DFD-4D11-BB1F-A75E127F0D56}" destId="{7D615A53-7D24-4830-B8EA-4AE971289824}" srcOrd="0" destOrd="0" presId="urn:microsoft.com/office/officeart/2005/8/layout/hierarchy4"/>
    <dgm:cxn modelId="{DECF7EDC-FF2E-497E-8932-DB60077A90CB}" type="presParOf" srcId="{F20DFF27-2DFD-4D11-BB1F-A75E127F0D56}" destId="{8760D783-335C-4579-BF35-4842439B5612}" srcOrd="1" destOrd="0" presId="urn:microsoft.com/office/officeart/2005/8/layout/hierarchy4"/>
    <dgm:cxn modelId="{52DA62F1-292E-4804-BC0D-6169477584B8}" type="presParOf" srcId="{F20DFF27-2DFD-4D11-BB1F-A75E127F0D56}" destId="{8609E6B5-EF96-4661-A574-0380F2002151}" srcOrd="2" destOrd="0" presId="urn:microsoft.com/office/officeart/2005/8/layout/hierarchy4"/>
    <dgm:cxn modelId="{1DC9D6D7-35A4-46D4-9484-02247FA23587}" type="presParOf" srcId="{8609E6B5-EF96-4661-A574-0380F2002151}" destId="{6AA7A607-8060-4A20-8BD0-9E45000DFFF9}" srcOrd="0" destOrd="0" presId="urn:microsoft.com/office/officeart/2005/8/layout/hierarchy4"/>
    <dgm:cxn modelId="{42531326-E7E1-47F6-8A01-249225F9CBF4}" type="presParOf" srcId="{6AA7A607-8060-4A20-8BD0-9E45000DFFF9}" destId="{6A9B2414-3214-4675-B4DC-86BB51111228}" srcOrd="0" destOrd="0" presId="urn:microsoft.com/office/officeart/2005/8/layout/hierarchy4"/>
    <dgm:cxn modelId="{F111C0AF-8C0A-4289-8BC7-BA3D65706E2E}" type="presParOf" srcId="{6AA7A607-8060-4A20-8BD0-9E45000DFFF9}" destId="{7AB550DD-14D4-4BDC-B753-328F2F654C51}" srcOrd="1" destOrd="0" presId="urn:microsoft.com/office/officeart/2005/8/layout/hierarchy4"/>
    <dgm:cxn modelId="{CE3386F6-AFC2-443B-B61A-B44BE15F752C}" type="presParOf" srcId="{8609E6B5-EF96-4661-A574-0380F2002151}" destId="{E578B3AB-F173-439B-BE59-6D7157634597}" srcOrd="1" destOrd="0" presId="urn:microsoft.com/office/officeart/2005/8/layout/hierarchy4"/>
    <dgm:cxn modelId="{EF1B84DF-895C-4903-97EA-EA69032A3D64}" type="presParOf" srcId="{8609E6B5-EF96-4661-A574-0380F2002151}" destId="{6C506C8F-6788-422B-84B5-027A0589ED55}" srcOrd="2" destOrd="0" presId="urn:microsoft.com/office/officeart/2005/8/layout/hierarchy4"/>
    <dgm:cxn modelId="{184773ED-B9AA-4DB2-9526-3E5CBAB5666D}" type="presParOf" srcId="{6C506C8F-6788-422B-84B5-027A0589ED55}" destId="{10A8D4CB-383B-49FC-8A1A-4929D88AA281}" srcOrd="0" destOrd="0" presId="urn:microsoft.com/office/officeart/2005/8/layout/hierarchy4"/>
    <dgm:cxn modelId="{924AA820-FA59-4256-A7FC-CE46DBBB6438}" type="presParOf" srcId="{6C506C8F-6788-422B-84B5-027A0589ED55}" destId="{99962DD7-5DF1-41A7-8EED-C209744D561C}" srcOrd="1" destOrd="0" presId="urn:microsoft.com/office/officeart/2005/8/layout/hierarchy4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FD00E0-6460-4461-BB5E-7EFBF72E43CA}">
      <dsp:nvSpPr>
        <dsp:cNvPr id="0" name=""/>
        <dsp:cNvSpPr/>
      </dsp:nvSpPr>
      <dsp:spPr>
        <a:xfrm>
          <a:off x="3251199" y="0"/>
          <a:ext cx="4876800" cy="1412217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600" kern="1200" dirty="0" smtClean="0"/>
            <a:t>Сервіси, доступні для всіх користувачів та відвідувачів</a:t>
          </a:r>
          <a:endParaRPr lang="ru-RU" sz="2600" kern="1200" dirty="0"/>
        </a:p>
      </dsp:txBody>
      <dsp:txXfrm>
        <a:off x="3251199" y="176527"/>
        <a:ext cx="4347219" cy="1059163"/>
      </dsp:txXfrm>
    </dsp:sp>
    <dsp:sp modelId="{FF418013-0959-49BD-B879-6159D7B32D7F}">
      <dsp:nvSpPr>
        <dsp:cNvPr id="0" name=""/>
        <dsp:cNvSpPr/>
      </dsp:nvSpPr>
      <dsp:spPr>
        <a:xfrm>
          <a:off x="0" y="0"/>
          <a:ext cx="3251200" cy="141221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64770" rIns="129540" bIns="6477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400" kern="1200" dirty="0" smtClean="0"/>
            <a:t>Відкриті</a:t>
          </a:r>
          <a:endParaRPr lang="ru-RU" sz="3400" kern="1200" dirty="0"/>
        </a:p>
      </dsp:txBody>
      <dsp:txXfrm>
        <a:off x="68939" y="68939"/>
        <a:ext cx="3113322" cy="1274339"/>
      </dsp:txXfrm>
    </dsp:sp>
    <dsp:sp modelId="{218357CD-F866-4E30-8950-60615AFA93CC}">
      <dsp:nvSpPr>
        <dsp:cNvPr id="0" name=""/>
        <dsp:cNvSpPr/>
      </dsp:nvSpPr>
      <dsp:spPr>
        <a:xfrm>
          <a:off x="3251199" y="1553439"/>
          <a:ext cx="4876800" cy="1412217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-3885807"/>
            <a:satOff val="-35781"/>
            <a:lumOff val="-3733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3885807"/>
              <a:satOff val="-35781"/>
              <a:lumOff val="-37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600" kern="1200" dirty="0" smtClean="0"/>
            <a:t>Сервіси, що передбачають реєстрацію користувачів</a:t>
          </a:r>
          <a:endParaRPr lang="ru-RU" sz="2600" kern="1200" dirty="0"/>
        </a:p>
      </dsp:txBody>
      <dsp:txXfrm>
        <a:off x="3251199" y="1729966"/>
        <a:ext cx="4347219" cy="1059163"/>
      </dsp:txXfrm>
    </dsp:sp>
    <dsp:sp modelId="{16F9C17A-5658-4EC3-AA5A-5C670B7EE88A}">
      <dsp:nvSpPr>
        <dsp:cNvPr id="0" name=""/>
        <dsp:cNvSpPr/>
      </dsp:nvSpPr>
      <dsp:spPr>
        <a:xfrm>
          <a:off x="0" y="1553439"/>
          <a:ext cx="3251200" cy="1412217"/>
        </a:xfrm>
        <a:prstGeom prst="roundRect">
          <a:avLst/>
        </a:prstGeom>
        <a:solidFill>
          <a:schemeClr val="accent4">
            <a:hueOff val="-3817943"/>
            <a:satOff val="-33056"/>
            <a:lumOff val="-137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64770" rIns="129540" bIns="6477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400" kern="1200" dirty="0" smtClean="0"/>
            <a:t>Напіввідкриті</a:t>
          </a:r>
          <a:endParaRPr lang="ru-RU" sz="3400" kern="1200" dirty="0"/>
        </a:p>
      </dsp:txBody>
      <dsp:txXfrm>
        <a:off x="68939" y="1622378"/>
        <a:ext cx="3113322" cy="1274339"/>
      </dsp:txXfrm>
    </dsp:sp>
    <dsp:sp modelId="{C70D266A-3A2C-44AF-94C2-7935DB2B9B79}">
      <dsp:nvSpPr>
        <dsp:cNvPr id="0" name=""/>
        <dsp:cNvSpPr/>
      </dsp:nvSpPr>
      <dsp:spPr>
        <a:xfrm>
          <a:off x="3251199" y="3106878"/>
          <a:ext cx="4876800" cy="1412217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-7771615"/>
            <a:satOff val="-71562"/>
            <a:lumOff val="-7466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7771615"/>
              <a:satOff val="-71562"/>
              <a:lumOff val="-746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600" kern="1200" dirty="0" smtClean="0"/>
            <a:t>Закриті службові сайти</a:t>
          </a:r>
          <a:endParaRPr lang="ru-RU" sz="2600" kern="1200" dirty="0"/>
        </a:p>
      </dsp:txBody>
      <dsp:txXfrm>
        <a:off x="3251199" y="3283405"/>
        <a:ext cx="4347219" cy="1059163"/>
      </dsp:txXfrm>
    </dsp:sp>
    <dsp:sp modelId="{8C5C5EEC-4846-49A3-B4D5-CFB046C2D439}">
      <dsp:nvSpPr>
        <dsp:cNvPr id="0" name=""/>
        <dsp:cNvSpPr/>
      </dsp:nvSpPr>
      <dsp:spPr>
        <a:xfrm>
          <a:off x="0" y="3106878"/>
          <a:ext cx="3251200" cy="1412217"/>
        </a:xfrm>
        <a:prstGeom prst="roundRect">
          <a:avLst/>
        </a:prstGeom>
        <a:solidFill>
          <a:schemeClr val="accent4">
            <a:hueOff val="-7635885"/>
            <a:satOff val="-66112"/>
            <a:lumOff val="-27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64770" rIns="129540" bIns="6477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400" kern="1200" dirty="0" smtClean="0"/>
            <a:t>Закриті</a:t>
          </a:r>
          <a:endParaRPr lang="ru-RU" sz="3400" kern="1200" dirty="0"/>
        </a:p>
      </dsp:txBody>
      <dsp:txXfrm>
        <a:off x="68939" y="3175817"/>
        <a:ext cx="3113322" cy="127433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5022DA-D192-4829-B690-C268D72416D3}">
      <dsp:nvSpPr>
        <dsp:cNvPr id="0" name=""/>
        <dsp:cNvSpPr/>
      </dsp:nvSpPr>
      <dsp:spPr>
        <a:xfrm>
          <a:off x="2639" y="3299"/>
          <a:ext cx="5963734" cy="145108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57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Теги</a:t>
          </a:r>
          <a:endParaRPr lang="ru-RU" sz="5700" b="1" kern="1200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sp:txBody>
      <dsp:txXfrm>
        <a:off x="45140" y="45800"/>
        <a:ext cx="5878732" cy="1366082"/>
      </dsp:txXfrm>
    </dsp:sp>
    <dsp:sp modelId="{D983F9E4-BED4-4B04-9E6A-DDAF4D53CF87}">
      <dsp:nvSpPr>
        <dsp:cNvPr id="0" name=""/>
        <dsp:cNvSpPr/>
      </dsp:nvSpPr>
      <dsp:spPr>
        <a:xfrm>
          <a:off x="8460" y="1560473"/>
          <a:ext cx="3104741" cy="1451084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Парні</a:t>
          </a:r>
          <a:endParaRPr lang="ru-RU" sz="3700" b="1" kern="1200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sp:txBody>
      <dsp:txXfrm>
        <a:off x="50961" y="1602974"/>
        <a:ext cx="3019739" cy="1366082"/>
      </dsp:txXfrm>
    </dsp:sp>
    <dsp:sp modelId="{87B15776-871C-4967-B7B6-AB38CCA44B3B}">
      <dsp:nvSpPr>
        <dsp:cNvPr id="0" name=""/>
        <dsp:cNvSpPr/>
      </dsp:nvSpPr>
      <dsp:spPr>
        <a:xfrm>
          <a:off x="8460" y="3117648"/>
          <a:ext cx="3104741" cy="1451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p&gt;&lt;/p&gt;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абзац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h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1</a:t>
          </a:r>
          <a:r>
            <a:rPr lang="en-US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&lt;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/</a:t>
          </a:r>
          <a:r>
            <a:rPr lang="en-US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h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1</a:t>
          </a:r>
          <a:r>
            <a:rPr lang="en-US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 заголовок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b&gt;&lt;/b&gt; </a:t>
          </a:r>
          <a:r>
            <a:rPr lang="uk-UA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жирний шрифт  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  </a:t>
          </a:r>
          <a:r>
            <a:rPr lang="uk-UA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 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  </a:t>
          </a:r>
          <a:endParaRPr lang="ru-RU" sz="1900" b="1" kern="1200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sp:txBody>
      <dsp:txXfrm>
        <a:off x="50961" y="3160149"/>
        <a:ext cx="3019739" cy="1366082"/>
      </dsp:txXfrm>
    </dsp:sp>
    <dsp:sp modelId="{2C0476A4-865D-4965-BECB-E61FE6BE2E94}">
      <dsp:nvSpPr>
        <dsp:cNvPr id="0" name=""/>
        <dsp:cNvSpPr/>
      </dsp:nvSpPr>
      <dsp:spPr>
        <a:xfrm>
          <a:off x="3333845" y="1560473"/>
          <a:ext cx="2626707" cy="1451084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37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rPr>
            <a:t>Непарні</a:t>
          </a:r>
          <a:endParaRPr lang="ru-RU" sz="3700" b="1" kern="1200" dirty="0">
            <a:solidFill>
              <a:schemeClr val="tx1">
                <a:lumMod val="75000"/>
                <a:lumOff val="25000"/>
              </a:schemeClr>
            </a:solidFill>
            <a:latin typeface="Arial Black" pitchFamily="34" charset="0"/>
          </a:endParaRPr>
        </a:p>
      </dsp:txBody>
      <dsp:txXfrm>
        <a:off x="3376346" y="1602974"/>
        <a:ext cx="2541705" cy="1366082"/>
      </dsp:txXfrm>
    </dsp:sp>
    <dsp:sp modelId="{5DEC5BEF-306A-4D1A-AA5B-DB3312DCC5AA}">
      <dsp:nvSpPr>
        <dsp:cNvPr id="0" name=""/>
        <dsp:cNvSpPr/>
      </dsp:nvSpPr>
      <dsp:spPr>
        <a:xfrm>
          <a:off x="3333845" y="3117648"/>
          <a:ext cx="2626707" cy="1451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</a:t>
          </a:r>
          <a:r>
            <a:rPr lang="en-US" sz="1900" b="0" i="0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br</a:t>
          </a: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новий рядок 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hr&gt;</a:t>
          </a:r>
          <a:r>
            <a:rPr lang="uk-UA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 </a:t>
          </a:r>
          <a:r>
            <a:rPr lang="uk-UA" sz="19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розділова лінія 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lt;</a:t>
          </a:r>
          <a:r>
            <a:rPr lang="en-US" sz="1900" b="0" i="0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img</a:t>
          </a:r>
          <a:r>
            <a:rPr lang="en-US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&gt;</a:t>
          </a:r>
          <a:r>
            <a:rPr lang="uk-UA" sz="1900" b="0" i="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вставка зображення</a:t>
          </a:r>
          <a:endParaRPr lang="ru-RU" sz="1900" kern="1200" dirty="0" smtClean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3376346" y="3160149"/>
        <a:ext cx="2541705" cy="136608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E8D261-5725-466D-8715-C48E5B38985E}">
      <dsp:nvSpPr>
        <dsp:cNvPr id="0" name=""/>
        <dsp:cNvSpPr/>
      </dsp:nvSpPr>
      <dsp:spPr>
        <a:xfrm rot="5400000">
          <a:off x="-173348" y="174901"/>
          <a:ext cx="1155655" cy="8089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1</a:t>
          </a:r>
          <a:endParaRPr lang="ru-RU" sz="2200" kern="1200" dirty="0"/>
        </a:p>
      </dsp:txBody>
      <dsp:txXfrm rot="-5400000">
        <a:off x="1" y="406031"/>
        <a:ext cx="808958" cy="346697"/>
      </dsp:txXfrm>
    </dsp:sp>
    <dsp:sp modelId="{D6C22444-8B9F-4A87-963D-E84EF5B67A9D}">
      <dsp:nvSpPr>
        <dsp:cNvPr id="0" name=""/>
        <dsp:cNvSpPr/>
      </dsp:nvSpPr>
      <dsp:spPr>
        <a:xfrm rot="5400000">
          <a:off x="5150882" y="-4340371"/>
          <a:ext cx="751175" cy="943502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800" kern="1200" dirty="0" smtClean="0"/>
            <a:t>Ергономічний сайт повинен відповідати таким вимогам…</a:t>
          </a:r>
          <a:endParaRPr lang="ru-RU" sz="2800" kern="1200" dirty="0"/>
        </a:p>
      </dsp:txBody>
      <dsp:txXfrm rot="-5400000">
        <a:off x="808958" y="38222"/>
        <a:ext cx="9398355" cy="677837"/>
      </dsp:txXfrm>
    </dsp:sp>
    <dsp:sp modelId="{1CAF44A3-2BCF-4A45-BFD2-14BFFBE96A0A}">
      <dsp:nvSpPr>
        <dsp:cNvPr id="0" name=""/>
        <dsp:cNvSpPr/>
      </dsp:nvSpPr>
      <dsp:spPr>
        <a:xfrm rot="5400000">
          <a:off x="-173348" y="1182512"/>
          <a:ext cx="1155655" cy="8089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2</a:t>
          </a:r>
          <a:endParaRPr lang="ru-RU" sz="2200" kern="1200" dirty="0"/>
        </a:p>
      </dsp:txBody>
      <dsp:txXfrm rot="-5400000">
        <a:off x="1" y="1413642"/>
        <a:ext cx="808958" cy="346697"/>
      </dsp:txXfrm>
    </dsp:sp>
    <dsp:sp modelId="{B84BEBBB-1F4D-4B3B-8889-49796D42862F}">
      <dsp:nvSpPr>
        <dsp:cNvPr id="0" name=""/>
        <dsp:cNvSpPr/>
      </dsp:nvSpPr>
      <dsp:spPr>
        <a:xfrm rot="5400000">
          <a:off x="5150882" y="-3332760"/>
          <a:ext cx="751175" cy="943502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800" kern="1200" dirty="0" smtClean="0"/>
            <a:t>Що таке </a:t>
          </a:r>
          <a:r>
            <a:rPr lang="uk-UA" sz="2800" kern="1200" dirty="0" err="1" smtClean="0"/>
            <a:t>юзабіліті</a:t>
          </a:r>
          <a:r>
            <a:rPr lang="uk-UA" sz="2800" kern="1200" dirty="0" smtClean="0"/>
            <a:t> сайту?</a:t>
          </a:r>
          <a:endParaRPr lang="ru-RU" sz="2800" kern="1200" dirty="0"/>
        </a:p>
      </dsp:txBody>
      <dsp:txXfrm rot="-5400000">
        <a:off x="808958" y="1045833"/>
        <a:ext cx="9398355" cy="677837"/>
      </dsp:txXfrm>
    </dsp:sp>
    <dsp:sp modelId="{8CFA6287-C0B5-4CAF-B788-9E4F34A18395}">
      <dsp:nvSpPr>
        <dsp:cNvPr id="0" name=""/>
        <dsp:cNvSpPr/>
      </dsp:nvSpPr>
      <dsp:spPr>
        <a:xfrm rot="5400000">
          <a:off x="-173348" y="2190123"/>
          <a:ext cx="1155655" cy="808958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3</a:t>
          </a:r>
          <a:endParaRPr lang="ru-RU" sz="2200" kern="1200" dirty="0"/>
        </a:p>
      </dsp:txBody>
      <dsp:txXfrm rot="-5400000">
        <a:off x="1" y="2421253"/>
        <a:ext cx="808958" cy="346697"/>
      </dsp:txXfrm>
    </dsp:sp>
    <dsp:sp modelId="{F464DE6D-7168-4579-B840-616402EDA566}">
      <dsp:nvSpPr>
        <dsp:cNvPr id="0" name=""/>
        <dsp:cNvSpPr/>
      </dsp:nvSpPr>
      <dsp:spPr>
        <a:xfrm rot="5400000">
          <a:off x="5150882" y="-2325149"/>
          <a:ext cx="751175" cy="943502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uk-UA" sz="2800" kern="1200" dirty="0" smtClean="0"/>
            <a:t>Назвіть принципи </a:t>
          </a:r>
          <a:r>
            <a:rPr lang="uk-UA" sz="2800" kern="1200" dirty="0" err="1" smtClean="0"/>
            <a:t>юзабіліті</a:t>
          </a:r>
          <a:r>
            <a:rPr lang="uk-UA" sz="2800" kern="1200" dirty="0" smtClean="0"/>
            <a:t>.</a:t>
          </a:r>
          <a:endParaRPr lang="ru-RU" sz="2800" kern="1200" dirty="0"/>
        </a:p>
      </dsp:txBody>
      <dsp:txXfrm rot="-5400000">
        <a:off x="808958" y="2053444"/>
        <a:ext cx="9398355" cy="677837"/>
      </dsp:txXfrm>
    </dsp:sp>
    <dsp:sp modelId="{223FCFD0-977B-430B-9C0E-BA0E2600EE76}">
      <dsp:nvSpPr>
        <dsp:cNvPr id="0" name=""/>
        <dsp:cNvSpPr/>
      </dsp:nvSpPr>
      <dsp:spPr>
        <a:xfrm rot="5400000">
          <a:off x="-173348" y="3197734"/>
          <a:ext cx="1155655" cy="808958"/>
        </a:xfrm>
        <a:prstGeom prst="chevron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4</a:t>
          </a:r>
          <a:endParaRPr lang="ru-RU" sz="2200" kern="1200" dirty="0"/>
        </a:p>
      </dsp:txBody>
      <dsp:txXfrm rot="-5400000">
        <a:off x="1" y="3428864"/>
        <a:ext cx="808958" cy="346697"/>
      </dsp:txXfrm>
    </dsp:sp>
    <dsp:sp modelId="{BA65178F-3EE4-4EA3-A698-4C2031A3C37C}">
      <dsp:nvSpPr>
        <dsp:cNvPr id="0" name=""/>
        <dsp:cNvSpPr/>
      </dsp:nvSpPr>
      <dsp:spPr>
        <a:xfrm rot="5400000">
          <a:off x="5150882" y="-1317538"/>
          <a:ext cx="751175" cy="943502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 err="1" smtClean="0"/>
            <a:t>Назвіть</a:t>
          </a:r>
          <a:r>
            <a:rPr lang="ru-RU" sz="2800" kern="1200" dirty="0" smtClean="0"/>
            <a:t> </a:t>
          </a:r>
          <a:r>
            <a:rPr lang="ru-RU" sz="2800" kern="1200" dirty="0" err="1" smtClean="0"/>
            <a:t>основні</a:t>
          </a:r>
          <a:r>
            <a:rPr lang="ru-RU" sz="2800" kern="1200" dirty="0" smtClean="0"/>
            <a:t> </a:t>
          </a:r>
          <a:r>
            <a:rPr lang="ru-RU" sz="2800" kern="1200" dirty="0" err="1" smtClean="0"/>
            <a:t>тенденція</a:t>
          </a:r>
          <a:r>
            <a:rPr lang="ru-RU" sz="2800" kern="1200" dirty="0" smtClean="0"/>
            <a:t> </a:t>
          </a:r>
          <a:r>
            <a:rPr lang="ru-RU" sz="2800" kern="1200" dirty="0" err="1" smtClean="0"/>
            <a:t>сучасного</a:t>
          </a:r>
          <a:r>
            <a:rPr lang="ru-RU" sz="2800" kern="1200" dirty="0" smtClean="0"/>
            <a:t> дизайну сайту.</a:t>
          </a:r>
          <a:endParaRPr lang="ru-RU" sz="2800" kern="1200" dirty="0"/>
        </a:p>
      </dsp:txBody>
      <dsp:txXfrm rot="-5400000">
        <a:off x="808958" y="3061055"/>
        <a:ext cx="9398355" cy="6778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8841D3-15B8-49AF-84CE-CF1F4748D606}">
      <dsp:nvSpPr>
        <dsp:cNvPr id="0" name=""/>
        <dsp:cNvSpPr/>
      </dsp:nvSpPr>
      <dsp:spPr>
        <a:xfrm>
          <a:off x="3251199" y="580"/>
          <a:ext cx="4876800" cy="2262262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b="0" i="0" kern="1200" dirty="0" err="1" smtClean="0"/>
            <a:t>Сторінки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відображаються</a:t>
          </a:r>
          <a:r>
            <a:rPr lang="ru-RU" sz="2100" b="0" i="0" kern="1200" dirty="0" smtClean="0"/>
            <a:t> у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smtClean="0"/>
            <a:t>тому </a:t>
          </a:r>
          <a:r>
            <a:rPr lang="ru-RU" sz="2100" b="0" i="0" kern="1200" dirty="0" err="1" smtClean="0"/>
            <a:t>вигляді</a:t>
          </a:r>
          <a:r>
            <a:rPr lang="ru-RU" sz="2100" b="0" i="0" kern="1200" dirty="0" smtClean="0"/>
            <a:t>, в </a:t>
          </a:r>
          <a:r>
            <a:rPr lang="ru-RU" sz="2100" b="0" i="0" kern="1200" dirty="0" err="1" smtClean="0"/>
            <a:t>якому</a:t>
          </a:r>
          <a:r>
            <a:rPr lang="ru-RU" sz="2100" b="0" i="0" kern="1200" dirty="0" smtClean="0"/>
            <a:t> вони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err="1" smtClean="0"/>
            <a:t>зберігаються</a:t>
          </a:r>
          <a:r>
            <a:rPr lang="ru-RU" sz="2100" b="0" i="0" kern="1200" dirty="0" smtClean="0"/>
            <a:t> на </a:t>
          </a:r>
          <a:r>
            <a:rPr lang="ru-RU" sz="2100" b="0" i="0" kern="1200" dirty="0" err="1" smtClean="0"/>
            <a:t>сервері</a:t>
          </a:r>
          <a:r>
            <a:rPr lang="ru-RU" sz="2100" b="0" i="0" kern="1200" dirty="0" smtClean="0"/>
            <a:t>, весь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err="1" smtClean="0"/>
            <a:t>їх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вміст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готується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заздалегідь</a:t>
          </a:r>
          <a:endParaRPr lang="ru-RU" sz="2100" kern="1200" dirty="0"/>
        </a:p>
      </dsp:txBody>
      <dsp:txXfrm>
        <a:off x="3251199" y="283363"/>
        <a:ext cx="4028452" cy="1696696"/>
      </dsp:txXfrm>
    </dsp:sp>
    <dsp:sp modelId="{2C29B039-BF2E-497A-9DA8-024A74B65DDF}">
      <dsp:nvSpPr>
        <dsp:cNvPr id="0" name=""/>
        <dsp:cNvSpPr/>
      </dsp:nvSpPr>
      <dsp:spPr>
        <a:xfrm>
          <a:off x="0" y="580"/>
          <a:ext cx="3251200" cy="226226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400" kern="1200" dirty="0" smtClean="0"/>
            <a:t>Статичні</a:t>
          </a:r>
          <a:endParaRPr lang="ru-RU" sz="4400" kern="1200" dirty="0"/>
        </a:p>
      </dsp:txBody>
      <dsp:txXfrm>
        <a:off x="110435" y="111015"/>
        <a:ext cx="3030330" cy="2041392"/>
      </dsp:txXfrm>
    </dsp:sp>
    <dsp:sp modelId="{CE523D27-0CDE-42E0-8067-5F6FEFF539DA}">
      <dsp:nvSpPr>
        <dsp:cNvPr id="0" name=""/>
        <dsp:cNvSpPr/>
      </dsp:nvSpPr>
      <dsp:spPr>
        <a:xfrm>
          <a:off x="3251199" y="2489069"/>
          <a:ext cx="4876800" cy="2262262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-7771615"/>
            <a:satOff val="-71562"/>
            <a:lumOff val="-7466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7771615"/>
              <a:satOff val="-71562"/>
              <a:lumOff val="-746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100" b="0" i="0" kern="1200" dirty="0" err="1" smtClean="0"/>
            <a:t>Сайти</a:t>
          </a:r>
          <a:r>
            <a:rPr lang="ru-RU" sz="2100" b="0" i="0" kern="1200" dirty="0" smtClean="0"/>
            <a:t>, у </a:t>
          </a:r>
          <a:r>
            <a:rPr lang="ru-RU" sz="2100" b="0" i="0" kern="1200" dirty="0" err="1" smtClean="0"/>
            <a:t>яких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веб-сторінки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err="1" smtClean="0"/>
            <a:t>генеруються</a:t>
          </a:r>
          <a:r>
            <a:rPr lang="ru-RU" sz="2100" b="0" i="0" kern="1200" dirty="0" smtClean="0"/>
            <a:t>, </a:t>
          </a:r>
          <a:r>
            <a:rPr lang="ru-RU" sz="2100" b="0" i="0" kern="1200" dirty="0" err="1" smtClean="0"/>
            <a:t>або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формуються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err="1" smtClean="0"/>
            <a:t>у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процесі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виконання</a:t>
          </a:r>
          <a:r>
            <a:rPr lang="ru-RU" sz="2100" b="0" i="0" kern="1200" dirty="0" smtClean="0"/>
            <a:t> </a:t>
          </a:r>
          <a:r>
            <a:rPr lang="ru-RU" sz="2100" b="0" i="0" kern="1200" dirty="0" err="1" smtClean="0"/>
            <a:t>запиту</a:t>
          </a:r>
          <a:r>
            <a:rPr lang="ru-RU" sz="2100" kern="1200" dirty="0" smtClean="0"/>
            <a:t/>
          </a:r>
          <a:br>
            <a:rPr lang="ru-RU" sz="2100" kern="1200" dirty="0" smtClean="0"/>
          </a:br>
          <a:r>
            <a:rPr lang="ru-RU" sz="2100" b="0" i="0" kern="1200" dirty="0" err="1" smtClean="0"/>
            <a:t>користувача</a:t>
          </a:r>
          <a:endParaRPr lang="ru-RU" sz="2100" kern="1200" dirty="0"/>
        </a:p>
      </dsp:txBody>
      <dsp:txXfrm>
        <a:off x="3251199" y="2771852"/>
        <a:ext cx="4028452" cy="1696696"/>
      </dsp:txXfrm>
    </dsp:sp>
    <dsp:sp modelId="{D3F76B2F-A825-46DB-A242-BBDF7D62B5A1}">
      <dsp:nvSpPr>
        <dsp:cNvPr id="0" name=""/>
        <dsp:cNvSpPr/>
      </dsp:nvSpPr>
      <dsp:spPr>
        <a:xfrm>
          <a:off x="0" y="2489069"/>
          <a:ext cx="3251200" cy="2262262"/>
        </a:xfrm>
        <a:prstGeom prst="roundRect">
          <a:avLst/>
        </a:prstGeom>
        <a:solidFill>
          <a:schemeClr val="accent4">
            <a:hueOff val="-7635885"/>
            <a:satOff val="-66112"/>
            <a:lumOff val="-27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4400" kern="1200" dirty="0" smtClean="0"/>
            <a:t>Динамічні</a:t>
          </a:r>
          <a:endParaRPr lang="ru-RU" sz="4400" kern="1200" dirty="0"/>
        </a:p>
      </dsp:txBody>
      <dsp:txXfrm>
        <a:off x="110435" y="2599504"/>
        <a:ext cx="3030330" cy="20413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0A5CCF-D2BB-4473-A345-A23D3FF86670}">
      <dsp:nvSpPr>
        <dsp:cNvPr id="0" name=""/>
        <dsp:cNvSpPr/>
      </dsp:nvSpPr>
      <dsp:spPr>
        <a:xfrm>
          <a:off x="48" y="114966"/>
          <a:ext cx="4658618" cy="92160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7584" tIns="130048" rIns="227584" bIns="130048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i="0" kern="1200" smtClean="0"/>
            <a:t>Пасивні</a:t>
          </a:r>
          <a:endParaRPr lang="ru-RU" sz="3200" b="1" kern="1200" dirty="0"/>
        </a:p>
      </dsp:txBody>
      <dsp:txXfrm>
        <a:off x="48" y="114966"/>
        <a:ext cx="4658618" cy="921600"/>
      </dsp:txXfrm>
    </dsp:sp>
    <dsp:sp modelId="{14293CA4-7688-4A5D-B436-EAE0FBFDF20B}">
      <dsp:nvSpPr>
        <dsp:cNvPr id="0" name=""/>
        <dsp:cNvSpPr/>
      </dsp:nvSpPr>
      <dsp:spPr>
        <a:xfrm>
          <a:off x="48" y="1036566"/>
          <a:ext cx="4658618" cy="298656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227584" bIns="256032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b="0" i="0" kern="1200" dirty="0" err="1" smtClean="0"/>
            <a:t>Сайти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з</a:t>
          </a:r>
          <a:r>
            <a:rPr lang="ru-RU" sz="3200" b="0" i="0" kern="1200" dirty="0" smtClean="0"/>
            <a:t> “</a:t>
          </a:r>
          <a:r>
            <a:rPr lang="ru-RU" sz="3200" b="0" i="0" kern="1200" dirty="0" err="1" smtClean="0"/>
            <a:t>пасивними</a:t>
          </a:r>
          <a:r>
            <a:rPr lang="ru-RU" sz="3200" b="0" i="0" kern="1200" dirty="0" smtClean="0"/>
            <a:t>” </a:t>
          </a:r>
          <a:r>
            <a:rPr lang="ru-RU" sz="3200" b="0" i="0" kern="1200" dirty="0" err="1" smtClean="0"/>
            <a:t>вебсторінками</a:t>
          </a:r>
          <a:r>
            <a:rPr lang="ru-RU" sz="3200" b="0" i="0" kern="1200" dirty="0" smtClean="0"/>
            <a:t> (</a:t>
          </a:r>
          <a:r>
            <a:rPr lang="ru-RU" sz="3200" b="0" i="0" kern="1200" dirty="0" err="1" smtClean="0"/>
            <a:t>користувач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може</a:t>
          </a:r>
          <a:r>
            <a:rPr lang="ru-RU" sz="3200" kern="1200" dirty="0" smtClean="0"/>
            <a:t/>
          </a:r>
          <a:br>
            <a:rPr lang="ru-RU" sz="3200" kern="1200" dirty="0" smtClean="0"/>
          </a:br>
          <a:r>
            <a:rPr lang="ru-RU" sz="3200" b="0" i="0" kern="1200" dirty="0" err="1" smtClean="0"/>
            <a:t>лише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переглядати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відомості</a:t>
          </a:r>
          <a:r>
            <a:rPr lang="ru-RU" sz="3200" kern="1200" dirty="0" smtClean="0"/>
            <a:t/>
          </a:r>
          <a:br>
            <a:rPr lang="ru-RU" sz="3200" kern="1200" dirty="0" smtClean="0"/>
          </a:br>
          <a:r>
            <a:rPr lang="ru-RU" sz="3200" b="0" i="0" kern="1200" dirty="0" smtClean="0"/>
            <a:t>на </a:t>
          </a:r>
          <a:r>
            <a:rPr lang="ru-RU" sz="3200" b="0" i="0" kern="1200" dirty="0" err="1" smtClean="0"/>
            <a:t>веб-сторінці</a:t>
          </a:r>
          <a:r>
            <a:rPr lang="ru-RU" sz="3200" b="0" i="0" kern="1200" dirty="0" smtClean="0"/>
            <a:t>)</a:t>
          </a:r>
          <a:endParaRPr lang="ru-RU" sz="3200" kern="1200" dirty="0"/>
        </a:p>
      </dsp:txBody>
      <dsp:txXfrm>
        <a:off x="48" y="1036566"/>
        <a:ext cx="4658618" cy="2986560"/>
      </dsp:txXfrm>
    </dsp:sp>
    <dsp:sp modelId="{BA9C5D2C-A5D9-46FF-A4DD-57C0A906AD4C}">
      <dsp:nvSpPr>
        <dsp:cNvPr id="0" name=""/>
        <dsp:cNvSpPr/>
      </dsp:nvSpPr>
      <dsp:spPr>
        <a:xfrm>
          <a:off x="5310873" y="114966"/>
          <a:ext cx="4658618" cy="921600"/>
        </a:xfrm>
        <a:prstGeom prst="rect">
          <a:avLst/>
        </a:prstGeom>
        <a:gradFill rotWithShape="0">
          <a:gsLst>
            <a:gs pos="0">
              <a:schemeClr val="accent4">
                <a:hueOff val="-7635885"/>
                <a:satOff val="-66112"/>
                <a:lumOff val="-27451"/>
                <a:alphaOff val="0"/>
                <a:shade val="51000"/>
                <a:satMod val="130000"/>
              </a:schemeClr>
            </a:gs>
            <a:gs pos="80000">
              <a:schemeClr val="accent4">
                <a:hueOff val="-7635885"/>
                <a:satOff val="-66112"/>
                <a:lumOff val="-27451"/>
                <a:alphaOff val="0"/>
                <a:shade val="93000"/>
                <a:satMod val="130000"/>
              </a:schemeClr>
            </a:gs>
            <a:gs pos="100000">
              <a:schemeClr val="accent4">
                <a:hueOff val="-7635885"/>
                <a:satOff val="-66112"/>
                <a:lumOff val="-27451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-7635885"/>
              <a:satOff val="-66112"/>
              <a:lumOff val="-2745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7584" tIns="130048" rIns="227584" bIns="130048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i="0" kern="1200" smtClean="0"/>
            <a:t>Інтерактивні</a:t>
          </a:r>
          <a:endParaRPr lang="ru-RU" sz="3200" b="1" kern="1200" dirty="0"/>
        </a:p>
      </dsp:txBody>
      <dsp:txXfrm>
        <a:off x="5310873" y="114966"/>
        <a:ext cx="4658618" cy="921600"/>
      </dsp:txXfrm>
    </dsp:sp>
    <dsp:sp modelId="{F06E2DFD-51B8-4080-B882-32769A02184E}">
      <dsp:nvSpPr>
        <dsp:cNvPr id="0" name=""/>
        <dsp:cNvSpPr/>
      </dsp:nvSpPr>
      <dsp:spPr>
        <a:xfrm>
          <a:off x="5310873" y="1036566"/>
          <a:ext cx="4658618" cy="2986560"/>
        </a:xfrm>
        <a:prstGeom prst="rect">
          <a:avLst/>
        </a:prstGeom>
        <a:solidFill>
          <a:schemeClr val="accent4">
            <a:tint val="40000"/>
            <a:alpha val="90000"/>
            <a:hueOff val="-7771615"/>
            <a:satOff val="-71562"/>
            <a:lumOff val="-7466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-7771615"/>
              <a:satOff val="-71562"/>
              <a:lumOff val="-746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227584" bIns="256032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200" b="0" i="0" kern="1200" dirty="0" err="1" smtClean="0"/>
            <a:t>Користувач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має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можливість</a:t>
          </a:r>
          <a:r>
            <a:rPr lang="ru-RU" sz="3200" kern="1200" dirty="0" smtClean="0"/>
            <a:t/>
          </a:r>
          <a:br>
            <a:rPr lang="ru-RU" sz="3200" kern="1200" dirty="0" smtClean="0"/>
          </a:br>
          <a:r>
            <a:rPr lang="ru-RU" sz="3200" b="0" i="0" kern="1200" dirty="0" err="1" smtClean="0"/>
            <a:t>обмінюватися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даними</a:t>
          </a:r>
          <a:r>
            <a:rPr lang="ru-RU" sz="3200" b="0" i="0" kern="1200" dirty="0" smtClean="0"/>
            <a:t> </a:t>
          </a:r>
          <a:r>
            <a:rPr lang="ru-RU" sz="3200" b="0" i="0" kern="1200" dirty="0" err="1" smtClean="0"/>
            <a:t>із</a:t>
          </a:r>
          <a:r>
            <a:rPr lang="ru-RU" sz="3200" kern="1200" dirty="0" smtClean="0"/>
            <a:t/>
          </a:r>
          <a:br>
            <a:rPr lang="ru-RU" sz="3200" kern="1200" dirty="0" smtClean="0"/>
          </a:br>
          <a:r>
            <a:rPr lang="ru-RU" sz="3200" b="0" i="0" kern="1200" dirty="0" smtClean="0"/>
            <a:t>сервером</a:t>
          </a:r>
          <a:endParaRPr lang="ru-RU" sz="3200" kern="1200" dirty="0"/>
        </a:p>
      </dsp:txBody>
      <dsp:txXfrm>
        <a:off x="5310873" y="1036566"/>
        <a:ext cx="4658618" cy="29865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A43E7F-7075-4C68-A442-3DF5DFBEB136}">
      <dsp:nvSpPr>
        <dsp:cNvPr id="0" name=""/>
        <dsp:cNvSpPr/>
      </dsp:nvSpPr>
      <dsp:spPr>
        <a:xfrm rot="5400000">
          <a:off x="4469764" y="-1279300"/>
          <a:ext cx="2114550" cy="5201920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b="0" i="0" kern="1200" dirty="0" err="1" smtClean="0"/>
            <a:t>Зовнішні</a:t>
          </a:r>
          <a:r>
            <a:rPr lang="ru-RU" sz="3300" b="0" i="0" kern="1200" dirty="0" smtClean="0"/>
            <a:t> </a:t>
          </a:r>
          <a:r>
            <a:rPr lang="ru-RU" sz="3300" b="0" i="0" kern="1200" dirty="0" err="1" smtClean="0"/>
            <a:t>сайти</a:t>
          </a:r>
          <a:r>
            <a:rPr lang="ru-RU" sz="3300" b="0" i="0" kern="1200" dirty="0" smtClean="0"/>
            <a:t> </a:t>
          </a:r>
          <a:r>
            <a:rPr lang="ru-RU" sz="3300" b="0" i="0" kern="1200" dirty="0" err="1" smtClean="0"/>
            <a:t>мережі</a:t>
          </a:r>
          <a:endParaRPr lang="ru-RU" sz="3300" kern="1200" dirty="0"/>
        </a:p>
      </dsp:txBody>
      <dsp:txXfrm rot="-5400000">
        <a:off x="2926079" y="367609"/>
        <a:ext cx="5098696" cy="1908102"/>
      </dsp:txXfrm>
    </dsp:sp>
    <dsp:sp modelId="{683D8B3D-207E-436F-BBE4-847A9DB45234}">
      <dsp:nvSpPr>
        <dsp:cNvPr id="0" name=""/>
        <dsp:cNvSpPr/>
      </dsp:nvSpPr>
      <dsp:spPr>
        <a:xfrm>
          <a:off x="0" y="66"/>
          <a:ext cx="2926080" cy="264318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400" b="0" i="0" kern="1200" dirty="0" err="1" smtClean="0"/>
            <a:t>Зовнішні</a:t>
          </a:r>
          <a:endParaRPr lang="ru-RU" sz="4400" kern="1200" dirty="0"/>
        </a:p>
      </dsp:txBody>
      <dsp:txXfrm>
        <a:off x="129030" y="129096"/>
        <a:ext cx="2668020" cy="2385127"/>
      </dsp:txXfrm>
    </dsp:sp>
    <dsp:sp modelId="{1A3C191A-AF17-495C-8BB3-5C2581156103}">
      <dsp:nvSpPr>
        <dsp:cNvPr id="0" name=""/>
        <dsp:cNvSpPr/>
      </dsp:nvSpPr>
      <dsp:spPr>
        <a:xfrm rot="5400000">
          <a:off x="4469764" y="1496047"/>
          <a:ext cx="2114550" cy="5201920"/>
        </a:xfrm>
        <a:prstGeom prst="round2SameRect">
          <a:avLst/>
        </a:prstGeom>
        <a:solidFill>
          <a:schemeClr val="accent4">
            <a:tint val="40000"/>
            <a:alpha val="90000"/>
            <a:hueOff val="-7771615"/>
            <a:satOff val="-71562"/>
            <a:lumOff val="-7466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7771615"/>
              <a:satOff val="-71562"/>
              <a:lumOff val="-746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b="0" i="0" kern="1200" dirty="0" err="1" smtClean="0"/>
            <a:t>Локальні</a:t>
          </a:r>
          <a:r>
            <a:rPr lang="ru-RU" sz="3300" b="0" i="0" kern="1200" dirty="0" smtClean="0"/>
            <a:t> </a:t>
          </a:r>
          <a:r>
            <a:rPr lang="ru-RU" sz="3300" b="0" i="0" kern="1200" dirty="0" err="1" smtClean="0"/>
            <a:t>сайти</a:t>
          </a:r>
          <a:r>
            <a:rPr lang="ru-RU" sz="3300" kern="1200" dirty="0" smtClean="0"/>
            <a:t/>
          </a:r>
          <a:br>
            <a:rPr lang="ru-RU" sz="3300" kern="1200" dirty="0" smtClean="0"/>
          </a:br>
          <a:r>
            <a:rPr lang="ru-RU" sz="3300" b="0" i="0" kern="1200" dirty="0" err="1" smtClean="0"/>
            <a:t>доступні</a:t>
          </a:r>
          <a:r>
            <a:rPr lang="ru-RU" sz="3300" b="0" i="0" kern="1200" dirty="0" smtClean="0"/>
            <a:t> </a:t>
          </a:r>
          <a:r>
            <a:rPr lang="ru-RU" sz="3300" b="0" i="0" kern="1200" dirty="0" err="1" smtClean="0"/>
            <a:t>лише</a:t>
          </a:r>
          <a:r>
            <a:rPr lang="ru-RU" sz="3300" b="0" i="0" kern="1200" dirty="0" smtClean="0"/>
            <a:t> в межах</a:t>
          </a:r>
          <a:r>
            <a:rPr lang="ru-RU" sz="3300" kern="1200" dirty="0" smtClean="0"/>
            <a:t/>
          </a:r>
          <a:br>
            <a:rPr lang="ru-RU" sz="3300" kern="1200" dirty="0" smtClean="0"/>
          </a:br>
          <a:r>
            <a:rPr lang="ru-RU" sz="3300" b="0" i="0" kern="1200" dirty="0" err="1" smtClean="0"/>
            <a:t>локальної</a:t>
          </a:r>
          <a:r>
            <a:rPr lang="ru-RU" sz="3300" b="0" i="0" kern="1200" dirty="0" smtClean="0"/>
            <a:t> </a:t>
          </a:r>
          <a:r>
            <a:rPr lang="ru-RU" sz="3300" b="0" i="0" kern="1200" dirty="0" err="1" smtClean="0"/>
            <a:t>мережі</a:t>
          </a:r>
          <a:endParaRPr lang="ru-RU" sz="3300" kern="1200" dirty="0"/>
        </a:p>
      </dsp:txBody>
      <dsp:txXfrm rot="-5400000">
        <a:off x="2926079" y="3142956"/>
        <a:ext cx="5098696" cy="1908102"/>
      </dsp:txXfrm>
    </dsp:sp>
    <dsp:sp modelId="{2379CEFD-699B-4A86-B91E-B5D2DE9740FA}">
      <dsp:nvSpPr>
        <dsp:cNvPr id="0" name=""/>
        <dsp:cNvSpPr/>
      </dsp:nvSpPr>
      <dsp:spPr>
        <a:xfrm>
          <a:off x="0" y="2775413"/>
          <a:ext cx="2926080" cy="2643187"/>
        </a:xfrm>
        <a:prstGeom prst="roundRect">
          <a:avLst/>
        </a:prstGeom>
        <a:solidFill>
          <a:schemeClr val="accent4">
            <a:hueOff val="-7635885"/>
            <a:satOff val="-66112"/>
            <a:lumOff val="-2745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400" b="0" i="0" kern="1200" dirty="0" err="1" smtClean="0"/>
            <a:t>Локальні</a:t>
          </a:r>
          <a:endParaRPr lang="ru-RU" sz="4400" kern="1200" dirty="0"/>
        </a:p>
      </dsp:txBody>
      <dsp:txXfrm>
        <a:off x="129030" y="2904443"/>
        <a:ext cx="2668020" cy="23851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3BDD6C-8BAB-4AD0-8542-339494C709C8}">
      <dsp:nvSpPr>
        <dsp:cNvPr id="0" name=""/>
        <dsp:cNvSpPr/>
      </dsp:nvSpPr>
      <dsp:spPr>
        <a:xfrm>
          <a:off x="0" y="575634"/>
          <a:ext cx="9874291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03A3CA-9AE2-4FC3-A5FA-9D95C28AAA6F}">
      <dsp:nvSpPr>
        <dsp:cNvPr id="0" name=""/>
        <dsp:cNvSpPr/>
      </dsp:nvSpPr>
      <dsp:spPr>
        <a:xfrm>
          <a:off x="493714" y="14754"/>
          <a:ext cx="6912003" cy="11217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1257" tIns="0" rIns="261257" bIns="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800" b="0" i="0" kern="1200" dirty="0" err="1" smtClean="0"/>
            <a:t>Інформаційні</a:t>
          </a:r>
          <a:r>
            <a:rPr lang="ru-RU" sz="3800" b="0" i="0" kern="1200" dirty="0" smtClean="0"/>
            <a:t> </a:t>
          </a:r>
          <a:r>
            <a:rPr lang="ru-RU" sz="3800" b="0" i="0" kern="1200" dirty="0" err="1" smtClean="0"/>
            <a:t>ресурси</a:t>
          </a:r>
          <a:endParaRPr lang="ru-RU" sz="3800" kern="1200" dirty="0"/>
        </a:p>
      </dsp:txBody>
      <dsp:txXfrm>
        <a:off x="548474" y="69514"/>
        <a:ext cx="6802483" cy="1012240"/>
      </dsp:txXfrm>
    </dsp:sp>
    <dsp:sp modelId="{1E00F91D-7E1E-4F1E-BE01-45A9BA79943A}">
      <dsp:nvSpPr>
        <dsp:cNvPr id="0" name=""/>
        <dsp:cNvSpPr/>
      </dsp:nvSpPr>
      <dsp:spPr>
        <a:xfrm>
          <a:off x="0" y="2299314"/>
          <a:ext cx="9874291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8A49BF-6FDE-44EE-A5CF-7F1C502A5C92}">
      <dsp:nvSpPr>
        <dsp:cNvPr id="0" name=""/>
        <dsp:cNvSpPr/>
      </dsp:nvSpPr>
      <dsp:spPr>
        <a:xfrm>
          <a:off x="493714" y="1738434"/>
          <a:ext cx="6912003" cy="11217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1257" tIns="0" rIns="261257" bIns="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800" b="0" i="0" kern="1200" dirty="0" err="1" smtClean="0"/>
            <a:t>Веб-сервіси</a:t>
          </a:r>
          <a:endParaRPr lang="ru-RU" sz="3800" kern="1200" dirty="0"/>
        </a:p>
      </dsp:txBody>
      <dsp:txXfrm>
        <a:off x="548474" y="1793194"/>
        <a:ext cx="6802483" cy="1012240"/>
      </dsp:txXfrm>
    </dsp:sp>
    <dsp:sp modelId="{48A89599-0C3C-4887-BFF2-26577C668324}">
      <dsp:nvSpPr>
        <dsp:cNvPr id="0" name=""/>
        <dsp:cNvSpPr/>
      </dsp:nvSpPr>
      <dsp:spPr>
        <a:xfrm>
          <a:off x="0" y="4022994"/>
          <a:ext cx="9874291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9AD530-B868-4B75-9C0D-4476D0C0C945}">
      <dsp:nvSpPr>
        <dsp:cNvPr id="0" name=""/>
        <dsp:cNvSpPr/>
      </dsp:nvSpPr>
      <dsp:spPr>
        <a:xfrm>
          <a:off x="493714" y="3462114"/>
          <a:ext cx="6912003" cy="112176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1257" tIns="0" rIns="261257" bIns="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800" b="0" i="0" kern="1200" dirty="0" err="1" smtClean="0"/>
            <a:t>Інтернет-представництва</a:t>
          </a:r>
          <a:endParaRPr lang="ru-RU" sz="3800" kern="1200" dirty="0"/>
        </a:p>
      </dsp:txBody>
      <dsp:txXfrm>
        <a:off x="548474" y="3516874"/>
        <a:ext cx="6802483" cy="10122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99663E-355B-415A-BE1B-6E96BED84E2E}">
      <dsp:nvSpPr>
        <dsp:cNvPr id="0" name=""/>
        <dsp:cNvSpPr/>
      </dsp:nvSpPr>
      <dsp:spPr>
        <a:xfrm>
          <a:off x="8016144" y="1811481"/>
          <a:ext cx="544305" cy="30879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7997"/>
              </a:lnTo>
              <a:lnTo>
                <a:pt x="544305" y="30879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B7E8CF-FF38-478D-B53A-BB39ABF379F0}">
      <dsp:nvSpPr>
        <dsp:cNvPr id="0" name=""/>
        <dsp:cNvSpPr/>
      </dsp:nvSpPr>
      <dsp:spPr>
        <a:xfrm>
          <a:off x="8016144" y="1811481"/>
          <a:ext cx="544305" cy="24236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3610"/>
              </a:lnTo>
              <a:lnTo>
                <a:pt x="544305" y="242361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601ECD-E298-434B-B302-D51FD2DAB51E}">
      <dsp:nvSpPr>
        <dsp:cNvPr id="0" name=""/>
        <dsp:cNvSpPr/>
      </dsp:nvSpPr>
      <dsp:spPr>
        <a:xfrm>
          <a:off x="8016144" y="1811481"/>
          <a:ext cx="544305" cy="17592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9222"/>
              </a:lnTo>
              <a:lnTo>
                <a:pt x="544305" y="175922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A3F06F-9BFC-4F4A-A02A-EABAB0B569A1}">
      <dsp:nvSpPr>
        <dsp:cNvPr id="0" name=""/>
        <dsp:cNvSpPr/>
      </dsp:nvSpPr>
      <dsp:spPr>
        <a:xfrm>
          <a:off x="8016144" y="1811481"/>
          <a:ext cx="544305" cy="10948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4835"/>
              </a:lnTo>
              <a:lnTo>
                <a:pt x="544305" y="1094835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C9B74D-1CA1-4EBC-83C0-078E2843B3B5}">
      <dsp:nvSpPr>
        <dsp:cNvPr id="0" name=""/>
        <dsp:cNvSpPr/>
      </dsp:nvSpPr>
      <dsp:spPr>
        <a:xfrm>
          <a:off x="8016144" y="1811481"/>
          <a:ext cx="544305" cy="430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0448"/>
              </a:lnTo>
              <a:lnTo>
                <a:pt x="544305" y="430448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C9774D-A514-45F9-B665-44FF6153CBC8}">
      <dsp:nvSpPr>
        <dsp:cNvPr id="0" name=""/>
        <dsp:cNvSpPr/>
      </dsp:nvSpPr>
      <dsp:spPr>
        <a:xfrm>
          <a:off x="5642411" y="1147093"/>
          <a:ext cx="3825214" cy="1965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8254"/>
              </a:lnTo>
              <a:lnTo>
                <a:pt x="3825214" y="98254"/>
              </a:lnTo>
              <a:lnTo>
                <a:pt x="3825214" y="196508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0CCB8A-424D-4058-B89A-E54E99A9F82C}">
      <dsp:nvSpPr>
        <dsp:cNvPr id="0" name=""/>
        <dsp:cNvSpPr/>
      </dsp:nvSpPr>
      <dsp:spPr>
        <a:xfrm>
          <a:off x="4190929" y="1811481"/>
          <a:ext cx="544305" cy="37523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2384"/>
              </a:lnTo>
              <a:lnTo>
                <a:pt x="544305" y="37523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F93C1-F7AF-4101-8EC6-BD56B086526F}">
      <dsp:nvSpPr>
        <dsp:cNvPr id="0" name=""/>
        <dsp:cNvSpPr/>
      </dsp:nvSpPr>
      <dsp:spPr>
        <a:xfrm>
          <a:off x="4190929" y="1811481"/>
          <a:ext cx="544305" cy="30879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7997"/>
              </a:lnTo>
              <a:lnTo>
                <a:pt x="544305" y="30879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6258B9-E63A-467C-9E38-DE0DE9580C7B}">
      <dsp:nvSpPr>
        <dsp:cNvPr id="0" name=""/>
        <dsp:cNvSpPr/>
      </dsp:nvSpPr>
      <dsp:spPr>
        <a:xfrm>
          <a:off x="4190929" y="1811481"/>
          <a:ext cx="544305" cy="24236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3610"/>
              </a:lnTo>
              <a:lnTo>
                <a:pt x="544305" y="242361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755047-2F66-4C40-BCF6-AC51A4C3889E}">
      <dsp:nvSpPr>
        <dsp:cNvPr id="0" name=""/>
        <dsp:cNvSpPr/>
      </dsp:nvSpPr>
      <dsp:spPr>
        <a:xfrm>
          <a:off x="4190929" y="1811481"/>
          <a:ext cx="544305" cy="17592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9222"/>
              </a:lnTo>
              <a:lnTo>
                <a:pt x="544305" y="175922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260B77-E011-4DCA-A254-A91C9B463480}">
      <dsp:nvSpPr>
        <dsp:cNvPr id="0" name=""/>
        <dsp:cNvSpPr/>
      </dsp:nvSpPr>
      <dsp:spPr>
        <a:xfrm>
          <a:off x="4190929" y="1811481"/>
          <a:ext cx="544305" cy="10948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4835"/>
              </a:lnTo>
              <a:lnTo>
                <a:pt x="544305" y="1094835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2045EE-7760-48C9-A318-96E632D7EFE5}">
      <dsp:nvSpPr>
        <dsp:cNvPr id="0" name=""/>
        <dsp:cNvSpPr/>
      </dsp:nvSpPr>
      <dsp:spPr>
        <a:xfrm>
          <a:off x="4190929" y="1811481"/>
          <a:ext cx="544305" cy="430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0448"/>
              </a:lnTo>
              <a:lnTo>
                <a:pt x="544305" y="430448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D51581-9CD5-4639-8F35-12F8BC45E168}">
      <dsp:nvSpPr>
        <dsp:cNvPr id="0" name=""/>
        <dsp:cNvSpPr/>
      </dsp:nvSpPr>
      <dsp:spPr>
        <a:xfrm>
          <a:off x="5596691" y="1147093"/>
          <a:ext cx="91440" cy="1965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6508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EF9329-46EC-4952-B04D-97AF7F9C31D1}">
      <dsp:nvSpPr>
        <dsp:cNvPr id="0" name=""/>
        <dsp:cNvSpPr/>
      </dsp:nvSpPr>
      <dsp:spPr>
        <a:xfrm>
          <a:off x="365714" y="1811481"/>
          <a:ext cx="544305" cy="24236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3610"/>
              </a:lnTo>
              <a:lnTo>
                <a:pt x="544305" y="242361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398801-E279-44BB-A27F-6D37AD7735DF}">
      <dsp:nvSpPr>
        <dsp:cNvPr id="0" name=""/>
        <dsp:cNvSpPr/>
      </dsp:nvSpPr>
      <dsp:spPr>
        <a:xfrm>
          <a:off x="365714" y="1811481"/>
          <a:ext cx="544305" cy="17592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9222"/>
              </a:lnTo>
              <a:lnTo>
                <a:pt x="544305" y="175922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72897F-5BD9-4130-BF92-DF7528B917CB}">
      <dsp:nvSpPr>
        <dsp:cNvPr id="0" name=""/>
        <dsp:cNvSpPr/>
      </dsp:nvSpPr>
      <dsp:spPr>
        <a:xfrm>
          <a:off x="365714" y="1811481"/>
          <a:ext cx="544305" cy="10948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4835"/>
              </a:lnTo>
              <a:lnTo>
                <a:pt x="544305" y="1094835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8C5E86-FE83-4260-B58A-164DC6334D47}">
      <dsp:nvSpPr>
        <dsp:cNvPr id="0" name=""/>
        <dsp:cNvSpPr/>
      </dsp:nvSpPr>
      <dsp:spPr>
        <a:xfrm>
          <a:off x="365714" y="1811481"/>
          <a:ext cx="544305" cy="430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0448"/>
              </a:lnTo>
              <a:lnTo>
                <a:pt x="544305" y="430448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83BA9B-597E-4F44-8EFC-AA13AF66BEE7}">
      <dsp:nvSpPr>
        <dsp:cNvPr id="0" name=""/>
        <dsp:cNvSpPr/>
      </dsp:nvSpPr>
      <dsp:spPr>
        <a:xfrm>
          <a:off x="1817196" y="1147093"/>
          <a:ext cx="3825214" cy="196508"/>
        </a:xfrm>
        <a:custGeom>
          <a:avLst/>
          <a:gdLst/>
          <a:ahLst/>
          <a:cxnLst/>
          <a:rect l="0" t="0" r="0" b="0"/>
          <a:pathLst>
            <a:path>
              <a:moveTo>
                <a:pt x="3825214" y="0"/>
              </a:moveTo>
              <a:lnTo>
                <a:pt x="3825214" y="98254"/>
              </a:lnTo>
              <a:lnTo>
                <a:pt x="0" y="98254"/>
              </a:lnTo>
              <a:lnTo>
                <a:pt x="0" y="196508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731F0C-E48A-443E-A7DD-3A36340093DB}">
      <dsp:nvSpPr>
        <dsp:cNvPr id="0" name=""/>
        <dsp:cNvSpPr/>
      </dsp:nvSpPr>
      <dsp:spPr>
        <a:xfrm>
          <a:off x="3828058" y="679215"/>
          <a:ext cx="3628705" cy="46787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err="1" smtClean="0">
              <a:solidFill>
                <a:schemeClr val="tx1"/>
              </a:solidFill>
            </a:rPr>
            <a:t>Типи</a:t>
          </a:r>
          <a:r>
            <a:rPr lang="ru-RU" sz="1600" b="1" kern="1200" dirty="0" smtClean="0">
              <a:solidFill>
                <a:schemeClr val="tx1"/>
              </a:solidFill>
            </a:rPr>
            <a:t> </a:t>
          </a:r>
          <a:r>
            <a:rPr lang="ru-RU" sz="1600" b="1" kern="1200" dirty="0" err="1" smtClean="0">
              <a:solidFill>
                <a:schemeClr val="tx1"/>
              </a:solidFill>
            </a:rPr>
            <a:t>сайтів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3828058" y="679215"/>
        <a:ext cx="3628705" cy="467878"/>
      </dsp:txXfrm>
    </dsp:sp>
    <dsp:sp modelId="{B978CBA1-581A-49DC-B461-5A968EB6F57F}">
      <dsp:nvSpPr>
        <dsp:cNvPr id="0" name=""/>
        <dsp:cNvSpPr/>
      </dsp:nvSpPr>
      <dsp:spPr>
        <a:xfrm>
          <a:off x="2843" y="1343602"/>
          <a:ext cx="3628705" cy="4678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Інформаційн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ресурс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2843" y="1343602"/>
        <a:ext cx="3628705" cy="467878"/>
      </dsp:txXfrm>
    </dsp:sp>
    <dsp:sp modelId="{61B45239-9B8C-4C7B-8811-E3B3A4529340}">
      <dsp:nvSpPr>
        <dsp:cNvPr id="0" name=""/>
        <dsp:cNvSpPr/>
      </dsp:nvSpPr>
      <dsp:spPr>
        <a:xfrm>
          <a:off x="910020" y="2007990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Тематичн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сайт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910020" y="2007990"/>
        <a:ext cx="3628705" cy="467878"/>
      </dsp:txXfrm>
    </dsp:sp>
    <dsp:sp modelId="{1FFED18D-5B81-4776-8B5D-34352D9ECF43}">
      <dsp:nvSpPr>
        <dsp:cNvPr id="0" name=""/>
        <dsp:cNvSpPr/>
      </dsp:nvSpPr>
      <dsp:spPr>
        <a:xfrm>
          <a:off x="910020" y="2672377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Інтернет-портал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910020" y="2672377"/>
        <a:ext cx="3628705" cy="467878"/>
      </dsp:txXfrm>
    </dsp:sp>
    <dsp:sp modelId="{8F2AF958-9140-4320-A824-64026F258D6A}">
      <dsp:nvSpPr>
        <dsp:cNvPr id="0" name=""/>
        <dsp:cNvSpPr/>
      </dsp:nvSpPr>
      <dsp:spPr>
        <a:xfrm>
          <a:off x="910020" y="3336764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Блог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910020" y="3336764"/>
        <a:ext cx="3628705" cy="467878"/>
      </dsp:txXfrm>
    </dsp:sp>
    <dsp:sp modelId="{FCCED5AC-901C-468E-BE5E-51EAE1D16113}">
      <dsp:nvSpPr>
        <dsp:cNvPr id="0" name=""/>
        <dsp:cNvSpPr/>
      </dsp:nvSpPr>
      <dsp:spPr>
        <a:xfrm>
          <a:off x="910020" y="4001152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</a:rPr>
            <a:t>Каталоги </a:t>
          </a:r>
          <a:r>
            <a:rPr lang="ru-RU" sz="1600" b="1" i="0" kern="1200" dirty="0" err="1" smtClean="0">
              <a:solidFill>
                <a:schemeClr val="tx1"/>
              </a:solidFill>
            </a:rPr>
            <a:t>сайтів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910020" y="4001152"/>
        <a:ext cx="3628705" cy="467878"/>
      </dsp:txXfrm>
    </dsp:sp>
    <dsp:sp modelId="{08E2F819-04B3-48B9-B3D3-77E01ECDA6CF}">
      <dsp:nvSpPr>
        <dsp:cNvPr id="0" name=""/>
        <dsp:cNvSpPr/>
      </dsp:nvSpPr>
      <dsp:spPr>
        <a:xfrm>
          <a:off x="3828058" y="1343602"/>
          <a:ext cx="3628705" cy="4678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Веб-сервіс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3828058" y="1343602"/>
        <a:ext cx="3628705" cy="467878"/>
      </dsp:txXfrm>
    </dsp:sp>
    <dsp:sp modelId="{14584F89-E045-4C25-B31B-87A29C7D412D}">
      <dsp:nvSpPr>
        <dsp:cNvPr id="0" name=""/>
        <dsp:cNvSpPr/>
      </dsp:nvSpPr>
      <dsp:spPr>
        <a:xfrm>
          <a:off x="4735235" y="2007990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Пошуков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систем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735235" y="2007990"/>
        <a:ext cx="3628705" cy="467878"/>
      </dsp:txXfrm>
    </dsp:sp>
    <dsp:sp modelId="{5517D4BB-07A9-4563-90A8-388EEA13409F}">
      <dsp:nvSpPr>
        <dsp:cNvPr id="0" name=""/>
        <dsp:cNvSpPr/>
      </dsp:nvSpPr>
      <dsp:spPr>
        <a:xfrm>
          <a:off x="4735235" y="2672377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Поштов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систем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735235" y="2672377"/>
        <a:ext cx="3628705" cy="467878"/>
      </dsp:txXfrm>
    </dsp:sp>
    <dsp:sp modelId="{711B3EDA-6A65-4D7E-9A7E-B9B6E966F2DD}">
      <dsp:nvSpPr>
        <dsp:cNvPr id="0" name=""/>
        <dsp:cNvSpPr/>
      </dsp:nvSpPr>
      <dsp:spPr>
        <a:xfrm>
          <a:off x="4735235" y="3336764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Інтернет-форум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735235" y="3336764"/>
        <a:ext cx="3628705" cy="467878"/>
      </dsp:txXfrm>
    </dsp:sp>
    <dsp:sp modelId="{086E3204-DECF-485D-8DE2-49A7B7D4B738}">
      <dsp:nvSpPr>
        <dsp:cNvPr id="0" name=""/>
        <dsp:cNvSpPr/>
      </dsp:nvSpPr>
      <dsp:spPr>
        <a:xfrm>
          <a:off x="4735235" y="4001152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Дошки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оголошень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735235" y="4001152"/>
        <a:ext cx="3628705" cy="467878"/>
      </dsp:txXfrm>
    </dsp:sp>
    <dsp:sp modelId="{4E139D75-FC17-4BAF-A8C1-44609F7B5CD8}">
      <dsp:nvSpPr>
        <dsp:cNvPr id="0" name=""/>
        <dsp:cNvSpPr/>
      </dsp:nvSpPr>
      <dsp:spPr>
        <a:xfrm>
          <a:off x="4735235" y="4665539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Соціальн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мережі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4735235" y="4665539"/>
        <a:ext cx="3628705" cy="467878"/>
      </dsp:txXfrm>
    </dsp:sp>
    <dsp:sp modelId="{69979909-E26B-4D9B-BD22-DEBD3077CB2C}">
      <dsp:nvSpPr>
        <dsp:cNvPr id="0" name=""/>
        <dsp:cNvSpPr/>
      </dsp:nvSpPr>
      <dsp:spPr>
        <a:xfrm>
          <a:off x="4735235" y="5329927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i="0" kern="1200" dirty="0" smtClean="0">
              <a:solidFill>
                <a:schemeClr val="tx1"/>
              </a:solidFill>
            </a:rPr>
            <a:t>Фото-, </a:t>
          </a:r>
          <a:r>
            <a:rPr lang="ru-RU" sz="1500" b="1" i="0" kern="1200" dirty="0" err="1" smtClean="0">
              <a:solidFill>
                <a:schemeClr val="tx1"/>
              </a:solidFill>
            </a:rPr>
            <a:t>аудіо</a:t>
          </a:r>
          <a:r>
            <a:rPr lang="ru-RU" sz="1500" b="1" i="0" kern="1200" dirty="0" smtClean="0">
              <a:solidFill>
                <a:schemeClr val="tx1"/>
              </a:solidFill>
            </a:rPr>
            <a:t>-,</a:t>
          </a:r>
          <a:r>
            <a:rPr lang="ru-RU" sz="1500" b="1" kern="1200" dirty="0" smtClean="0">
              <a:solidFill>
                <a:schemeClr val="tx1"/>
              </a:solidFill>
            </a:rPr>
            <a:t/>
          </a:r>
          <a:br>
            <a:rPr lang="ru-RU" sz="1500" b="1" kern="1200" dirty="0" smtClean="0">
              <a:solidFill>
                <a:schemeClr val="tx1"/>
              </a:solidFill>
            </a:rPr>
          </a:br>
          <a:r>
            <a:rPr lang="ru-RU" sz="1500" b="1" i="0" kern="1200" dirty="0" err="1" smtClean="0">
              <a:solidFill>
                <a:schemeClr val="tx1"/>
              </a:solidFill>
            </a:rPr>
            <a:t>відеохостинги</a:t>
          </a:r>
          <a:endParaRPr lang="ru-RU" sz="1500" b="1" kern="1200" dirty="0">
            <a:solidFill>
              <a:schemeClr val="tx1"/>
            </a:solidFill>
          </a:endParaRPr>
        </a:p>
      </dsp:txBody>
      <dsp:txXfrm>
        <a:off x="4735235" y="5329927"/>
        <a:ext cx="3628705" cy="467878"/>
      </dsp:txXfrm>
    </dsp:sp>
    <dsp:sp modelId="{2C1E32B0-9A5D-44D1-8069-D69AEEE9CACC}">
      <dsp:nvSpPr>
        <dsp:cNvPr id="0" name=""/>
        <dsp:cNvSpPr/>
      </dsp:nvSpPr>
      <dsp:spPr>
        <a:xfrm>
          <a:off x="7653273" y="1343602"/>
          <a:ext cx="3628705" cy="4678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Інтернет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представництв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7653273" y="1343602"/>
        <a:ext cx="3628705" cy="467878"/>
      </dsp:txXfrm>
    </dsp:sp>
    <dsp:sp modelId="{00C5C967-E72F-4113-A079-2B07C7E0A06E}">
      <dsp:nvSpPr>
        <dsp:cNvPr id="0" name=""/>
        <dsp:cNvSpPr/>
      </dsp:nvSpPr>
      <dsp:spPr>
        <a:xfrm>
          <a:off x="8560450" y="2007990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Сайти-візитк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8560450" y="2007990"/>
        <a:ext cx="3628705" cy="467878"/>
      </dsp:txXfrm>
    </dsp:sp>
    <dsp:sp modelId="{0E6BF8F0-269F-4064-968B-51D58F471451}">
      <dsp:nvSpPr>
        <dsp:cNvPr id="0" name=""/>
        <dsp:cNvSpPr/>
      </dsp:nvSpPr>
      <dsp:spPr>
        <a:xfrm>
          <a:off x="8560450" y="2672377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Корпоративні</a:t>
          </a:r>
          <a:r>
            <a:rPr lang="ru-RU" sz="1600" b="1" i="0" kern="1200" dirty="0" smtClean="0">
              <a:solidFill>
                <a:schemeClr val="tx1"/>
              </a:solidFill>
            </a:rPr>
            <a:t> </a:t>
          </a:r>
          <a:r>
            <a:rPr lang="ru-RU" sz="1600" b="1" i="0" kern="1200" dirty="0" err="1" smtClean="0">
              <a:solidFill>
                <a:schemeClr val="tx1"/>
              </a:solidFill>
            </a:rPr>
            <a:t>сайт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8560450" y="2672377"/>
        <a:ext cx="3628705" cy="467878"/>
      </dsp:txXfrm>
    </dsp:sp>
    <dsp:sp modelId="{15EACC97-7CC8-49A9-91E9-814383ACB61A}">
      <dsp:nvSpPr>
        <dsp:cNvPr id="0" name=""/>
        <dsp:cNvSpPr/>
      </dsp:nvSpPr>
      <dsp:spPr>
        <a:xfrm>
          <a:off x="8560450" y="3336764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kern="1200" dirty="0" smtClean="0">
              <a:solidFill>
                <a:schemeClr val="tx1"/>
              </a:solidFill>
            </a:rPr>
            <a:t>Інтернет вітрин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8560450" y="3336764"/>
        <a:ext cx="3628705" cy="467878"/>
      </dsp:txXfrm>
    </dsp:sp>
    <dsp:sp modelId="{ADE07E75-D122-4290-9D7A-5B84E76B50E3}">
      <dsp:nvSpPr>
        <dsp:cNvPr id="0" name=""/>
        <dsp:cNvSpPr/>
      </dsp:nvSpPr>
      <dsp:spPr>
        <a:xfrm>
          <a:off x="8560450" y="4001152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Інтернет-магазин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8560450" y="4001152"/>
        <a:ext cx="3628705" cy="467878"/>
      </dsp:txXfrm>
    </dsp:sp>
    <dsp:sp modelId="{79B4F591-F952-4C3E-A9B3-5FA9BEC4FEBA}">
      <dsp:nvSpPr>
        <dsp:cNvPr id="0" name=""/>
        <dsp:cNvSpPr/>
      </dsp:nvSpPr>
      <dsp:spPr>
        <a:xfrm>
          <a:off x="8560450" y="4665539"/>
          <a:ext cx="3628705" cy="46787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err="1" smtClean="0">
              <a:solidFill>
                <a:schemeClr val="tx1"/>
              </a:solidFill>
            </a:rPr>
            <a:t>Промо-сайти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8560450" y="4665539"/>
        <a:ext cx="3628705" cy="46787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7DBC03-0FBF-44B4-B13C-1A1F756A9FDF}">
      <dsp:nvSpPr>
        <dsp:cNvPr id="0" name=""/>
        <dsp:cNvSpPr/>
      </dsp:nvSpPr>
      <dsp:spPr>
        <a:xfrm>
          <a:off x="0" y="0"/>
          <a:ext cx="5418667" cy="5418667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A2CB1F-D3F9-41F9-B5B5-15DC0740E801}">
      <dsp:nvSpPr>
        <dsp:cNvPr id="0" name=""/>
        <dsp:cNvSpPr/>
      </dsp:nvSpPr>
      <dsp:spPr>
        <a:xfrm>
          <a:off x="2709333" y="0"/>
          <a:ext cx="6688703" cy="541866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0" kern="1200" dirty="0" err="1" smtClean="0">
              <a:latin typeface="Cambria" pitchFamily="18" charset="0"/>
            </a:rPr>
            <a:t>персональ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0"/>
        <a:ext cx="6688703" cy="677335"/>
      </dsp:txXfrm>
    </dsp:sp>
    <dsp:sp modelId="{07502D55-EB24-46D5-B803-EB082E57CB54}">
      <dsp:nvSpPr>
        <dsp:cNvPr id="0" name=""/>
        <dsp:cNvSpPr/>
      </dsp:nvSpPr>
      <dsp:spPr>
        <a:xfrm>
          <a:off x="474134" y="677335"/>
          <a:ext cx="4470398" cy="4470398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-2549222"/>
            <a:satOff val="-3507"/>
            <a:lumOff val="7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EBEF6B-7FAF-4E06-BBB1-45014AC4B3E1}">
      <dsp:nvSpPr>
        <dsp:cNvPr id="0" name=""/>
        <dsp:cNvSpPr/>
      </dsp:nvSpPr>
      <dsp:spPr>
        <a:xfrm>
          <a:off x="2709333" y="677335"/>
          <a:ext cx="6688703" cy="44703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2549222"/>
              <a:satOff val="-3507"/>
              <a:lumOff val="76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0" kern="1200" dirty="0" err="1" smtClean="0">
              <a:latin typeface="Cambria" pitchFamily="18" charset="0"/>
            </a:rPr>
            <a:t>комерцій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677335"/>
        <a:ext cx="6688703" cy="677335"/>
      </dsp:txXfrm>
    </dsp:sp>
    <dsp:sp modelId="{EA67EA92-3549-496F-820C-FE32A2BEFF61}">
      <dsp:nvSpPr>
        <dsp:cNvPr id="0" name=""/>
        <dsp:cNvSpPr/>
      </dsp:nvSpPr>
      <dsp:spPr>
        <a:xfrm>
          <a:off x="948268" y="1354670"/>
          <a:ext cx="3522130" cy="3522130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-5098443"/>
            <a:satOff val="-7014"/>
            <a:lumOff val="15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797352-C54E-422C-9744-0E368CA2D83D}">
      <dsp:nvSpPr>
        <dsp:cNvPr id="0" name=""/>
        <dsp:cNvSpPr/>
      </dsp:nvSpPr>
      <dsp:spPr>
        <a:xfrm>
          <a:off x="2709333" y="1354670"/>
          <a:ext cx="6688703" cy="352213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5098443"/>
              <a:satOff val="-7014"/>
              <a:lumOff val="1529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0" kern="1200" dirty="0" err="1" smtClean="0">
              <a:latin typeface="Cambria" pitchFamily="18" charset="0"/>
            </a:rPr>
            <a:t>інформацій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1354670"/>
        <a:ext cx="6688703" cy="677329"/>
      </dsp:txXfrm>
    </dsp:sp>
    <dsp:sp modelId="{948ECEA8-6FCE-4238-AF2F-2319D183936C}">
      <dsp:nvSpPr>
        <dsp:cNvPr id="0" name=""/>
        <dsp:cNvSpPr/>
      </dsp:nvSpPr>
      <dsp:spPr>
        <a:xfrm>
          <a:off x="1422400" y="2032000"/>
          <a:ext cx="2573866" cy="2573866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-7647665"/>
            <a:satOff val="-10521"/>
            <a:lumOff val="229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F91F7C-C4B0-49E1-A8AB-46BDEA36B4E7}">
      <dsp:nvSpPr>
        <dsp:cNvPr id="0" name=""/>
        <dsp:cNvSpPr/>
      </dsp:nvSpPr>
      <dsp:spPr>
        <a:xfrm>
          <a:off x="2709333" y="2032000"/>
          <a:ext cx="6688703" cy="257386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7647665"/>
              <a:satOff val="-10521"/>
              <a:lumOff val="22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0" kern="1200" dirty="0" err="1" smtClean="0">
              <a:latin typeface="Cambria" pitchFamily="18" charset="0"/>
            </a:rPr>
            <a:t>офіцій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2032000"/>
        <a:ext cx="6688703" cy="677335"/>
      </dsp:txXfrm>
    </dsp:sp>
    <dsp:sp modelId="{F3BED557-5913-464D-BD25-2BBDF5E56903}">
      <dsp:nvSpPr>
        <dsp:cNvPr id="0" name=""/>
        <dsp:cNvSpPr/>
      </dsp:nvSpPr>
      <dsp:spPr>
        <a:xfrm>
          <a:off x="1896534" y="2709335"/>
          <a:ext cx="1625598" cy="1625598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-10196886"/>
            <a:satOff val="-14028"/>
            <a:lumOff val="30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73B8E-7F0B-4389-A86C-4539C4899E1B}">
      <dsp:nvSpPr>
        <dsp:cNvPr id="0" name=""/>
        <dsp:cNvSpPr/>
      </dsp:nvSpPr>
      <dsp:spPr>
        <a:xfrm>
          <a:off x="2709333" y="2709335"/>
          <a:ext cx="6688703" cy="16255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10196886"/>
              <a:satOff val="-14028"/>
              <a:lumOff val="305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0" kern="1200" dirty="0" err="1" smtClean="0">
              <a:latin typeface="Cambria" pitchFamily="18" charset="0"/>
            </a:rPr>
            <a:t>освіт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2709335"/>
        <a:ext cx="6688703" cy="677335"/>
      </dsp:txXfrm>
    </dsp:sp>
    <dsp:sp modelId="{0B3F2BF9-964B-43F9-A3B5-1C4863123D0B}">
      <dsp:nvSpPr>
        <dsp:cNvPr id="0" name=""/>
        <dsp:cNvSpPr/>
      </dsp:nvSpPr>
      <dsp:spPr>
        <a:xfrm>
          <a:off x="2370668" y="3386670"/>
          <a:ext cx="677329" cy="677329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-12746108"/>
            <a:satOff val="-17535"/>
            <a:lumOff val="3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40957F-9391-4A39-A605-6731C0765204}">
      <dsp:nvSpPr>
        <dsp:cNvPr id="0" name=""/>
        <dsp:cNvSpPr/>
      </dsp:nvSpPr>
      <dsp:spPr>
        <a:xfrm>
          <a:off x="2709333" y="3386670"/>
          <a:ext cx="6688703" cy="67732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12746108"/>
              <a:satOff val="-17535"/>
              <a:lumOff val="382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800" b="1" kern="1200" dirty="0" smtClean="0">
              <a:latin typeface="Cambria" pitchFamily="18" charset="0"/>
            </a:rPr>
            <a:t>розважальні</a:t>
          </a:r>
          <a:endParaRPr lang="ru-RU" sz="2800" b="1" kern="1200" dirty="0">
            <a:latin typeface="Cambria" pitchFamily="18" charset="0"/>
          </a:endParaRPr>
        </a:p>
      </dsp:txBody>
      <dsp:txXfrm>
        <a:off x="2709333" y="3386670"/>
        <a:ext cx="6688703" cy="67732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24B981-47F0-4B57-8CAF-0A98B8808807}">
      <dsp:nvSpPr>
        <dsp:cNvPr id="0" name=""/>
        <dsp:cNvSpPr/>
      </dsp:nvSpPr>
      <dsp:spPr>
        <a:xfrm>
          <a:off x="731520" y="1247782"/>
          <a:ext cx="7071360" cy="3654435"/>
        </a:xfrm>
        <a:prstGeom prst="rect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9FF5BE3-DCF3-473C-8223-46023B3F1F99}">
      <dsp:nvSpPr>
        <dsp:cNvPr id="0" name=""/>
        <dsp:cNvSpPr/>
      </dsp:nvSpPr>
      <dsp:spPr>
        <a:xfrm>
          <a:off x="942848" y="1675172"/>
          <a:ext cx="3283712" cy="3126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815" tIns="43815" rIns="43815" bIns="43815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smtClean="0">
              <a:latin typeface="+mn-lt"/>
            </a:rPr>
            <a:t>Чітке уявлення вихідного коду сторінки і сайту</a:t>
          </a:r>
        </a:p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smtClean="0">
              <a:latin typeface="+mn-lt"/>
            </a:rPr>
            <a:t>Наявність потрібних тегів в коді сторінки, без «сміття» </a:t>
          </a:r>
        </a:p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smtClean="0">
              <a:latin typeface="+mn-lt"/>
            </a:rPr>
            <a:t>Можливість вибору конструкції верстки </a:t>
          </a:r>
          <a:endParaRPr lang="ru-RU" sz="2300" kern="1200" dirty="0"/>
        </a:p>
      </dsp:txBody>
      <dsp:txXfrm>
        <a:off x="942848" y="1675172"/>
        <a:ext cx="3283712" cy="3126325"/>
      </dsp:txXfrm>
    </dsp:sp>
    <dsp:sp modelId="{5537A895-E944-4992-9B31-D6269035A8F1}">
      <dsp:nvSpPr>
        <dsp:cNvPr id="0" name=""/>
        <dsp:cNvSpPr/>
      </dsp:nvSpPr>
      <dsp:spPr>
        <a:xfrm>
          <a:off x="4299712" y="1675172"/>
          <a:ext cx="3283712" cy="3126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815" tIns="43815" rIns="43815" bIns="43815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2300" kern="1200" dirty="0" smtClean="0">
              <a:latin typeface="+mn-lt"/>
            </a:rPr>
            <a:t>Потреба в знанні</a:t>
          </a:r>
          <a:r>
            <a:rPr lang="en-US" sz="2300" kern="1200" dirty="0" smtClean="0">
              <a:latin typeface="+mn-lt"/>
            </a:rPr>
            <a:t> HTML</a:t>
          </a:r>
          <a:endParaRPr lang="uk-UA" sz="2300" kern="1200" dirty="0" smtClean="0">
            <a:latin typeface="+mn-lt"/>
          </a:endParaRPr>
        </a:p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dirty="0" smtClean="0">
              <a:latin typeface="+mn-lt"/>
            </a:rPr>
            <a:t>Більше часу на написання коду</a:t>
          </a:r>
        </a:p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dirty="0" smtClean="0">
              <a:latin typeface="+mn-lt"/>
            </a:rPr>
            <a:t>Відсутність візуального перегляду сторінки (текстові редактори) </a:t>
          </a:r>
        </a:p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altLang="ru-RU" sz="2300" kern="1200" dirty="0" smtClean="0">
              <a:latin typeface="+mn-lt"/>
            </a:rPr>
            <a:t>Особливості дизайну</a:t>
          </a:r>
          <a:endParaRPr lang="ru-RU" sz="2300" kern="1200" dirty="0"/>
        </a:p>
      </dsp:txBody>
      <dsp:txXfrm>
        <a:off x="4299712" y="1675172"/>
        <a:ext cx="3283712" cy="3126325"/>
      </dsp:txXfrm>
    </dsp:sp>
    <dsp:sp modelId="{3F7D5F39-9D07-431A-BD40-315625C3E78C}">
      <dsp:nvSpPr>
        <dsp:cNvPr id="0" name=""/>
        <dsp:cNvSpPr/>
      </dsp:nvSpPr>
      <dsp:spPr>
        <a:xfrm>
          <a:off x="0" y="516449"/>
          <a:ext cx="1381760" cy="1381760"/>
        </a:xfrm>
        <a:prstGeom prst="plus">
          <a:avLst>
            <a:gd name="adj" fmla="val 32810"/>
          </a:avLst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shade val="5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8977523-8F57-4A82-B2EC-4716F4AE95E9}">
      <dsp:nvSpPr>
        <dsp:cNvPr id="0" name=""/>
        <dsp:cNvSpPr/>
      </dsp:nvSpPr>
      <dsp:spPr>
        <a:xfrm>
          <a:off x="6827520" y="1013363"/>
          <a:ext cx="1300480" cy="445662"/>
        </a:xfrm>
        <a:prstGeom prst="rect">
          <a:avLst/>
        </a:prstGeom>
        <a:gradFill rotWithShape="0">
          <a:gsLst>
            <a:gs pos="0">
              <a:schemeClr val="accent2">
                <a:shade val="50000"/>
                <a:hueOff val="307991"/>
                <a:satOff val="-2662"/>
                <a:lumOff val="44722"/>
                <a:alphaOff val="0"/>
                <a:tint val="50000"/>
                <a:satMod val="300000"/>
              </a:schemeClr>
            </a:gs>
            <a:gs pos="35000">
              <a:schemeClr val="accent2">
                <a:shade val="50000"/>
                <a:hueOff val="307991"/>
                <a:satOff val="-2662"/>
                <a:lumOff val="44722"/>
                <a:alphaOff val="0"/>
                <a:tint val="37000"/>
                <a:satMod val="300000"/>
              </a:schemeClr>
            </a:gs>
            <a:gs pos="100000">
              <a:schemeClr val="accent2">
                <a:shade val="50000"/>
                <a:hueOff val="307991"/>
                <a:satOff val="-2662"/>
                <a:lumOff val="44722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50000"/>
              <a:hueOff val="307991"/>
              <a:satOff val="-2662"/>
              <a:lumOff val="44722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9D8527C-F867-4798-90AD-62178D177EB8}">
      <dsp:nvSpPr>
        <dsp:cNvPr id="0" name=""/>
        <dsp:cNvSpPr/>
      </dsp:nvSpPr>
      <dsp:spPr>
        <a:xfrm>
          <a:off x="4267200" y="1681857"/>
          <a:ext cx="812" cy="2985941"/>
        </a:xfrm>
        <a:prstGeom prst="line">
          <a:avLst/>
        </a:pr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8872F7-F2D7-40C4-907E-97B61A01F709}">
      <dsp:nvSpPr>
        <dsp:cNvPr id="0" name=""/>
        <dsp:cNvSpPr/>
      </dsp:nvSpPr>
      <dsp:spPr>
        <a:xfrm>
          <a:off x="3849" y="1947"/>
          <a:ext cx="8120300" cy="170920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700" b="1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Програми</a:t>
          </a:r>
          <a:r>
            <a:rPr lang="ru-RU" sz="47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</a:t>
          </a:r>
          <a:r>
            <a:rPr lang="ru-RU" sz="4700" b="1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створення</a:t>
          </a:r>
          <a:r>
            <a:rPr lang="ru-RU" sz="4700" b="1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 </a:t>
          </a:r>
          <a:r>
            <a:rPr lang="ru-RU" sz="4700" b="1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веб-сторінок</a:t>
          </a:r>
          <a:endParaRPr lang="ru-RU" sz="4700" b="1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53910" y="52008"/>
        <a:ext cx="8020178" cy="1609086"/>
      </dsp:txXfrm>
    </dsp:sp>
    <dsp:sp modelId="{14F995B4-61D9-4B76-BDEF-DB5B1FE15A11}">
      <dsp:nvSpPr>
        <dsp:cNvPr id="0" name=""/>
        <dsp:cNvSpPr/>
      </dsp:nvSpPr>
      <dsp:spPr>
        <a:xfrm>
          <a:off x="3849" y="1854729"/>
          <a:ext cx="1928812" cy="17092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kern="1200" dirty="0" err="1" smtClean="0"/>
            <a:t>Текстові</a:t>
          </a:r>
          <a:r>
            <a:rPr lang="ru-RU" sz="1800" b="1" kern="1200" dirty="0" smtClean="0"/>
            <a:t/>
          </a:r>
          <a:br>
            <a:rPr lang="ru-RU" sz="1800" b="1" kern="1200" dirty="0" smtClean="0"/>
          </a:br>
          <a:r>
            <a:rPr lang="ru-RU" sz="1800" b="1" i="0" kern="1200" dirty="0" err="1" smtClean="0"/>
            <a:t>редактори</a:t>
          </a:r>
          <a:endParaRPr lang="ru-RU" sz="1800" b="1" kern="1200" dirty="0"/>
        </a:p>
      </dsp:txBody>
      <dsp:txXfrm>
        <a:off x="53910" y="1904790"/>
        <a:ext cx="1828690" cy="1609086"/>
      </dsp:txXfrm>
    </dsp:sp>
    <dsp:sp modelId="{097253BF-4ECB-4090-8400-0FB48EB76F7C}">
      <dsp:nvSpPr>
        <dsp:cNvPr id="0" name=""/>
        <dsp:cNvSpPr/>
      </dsp:nvSpPr>
      <dsp:spPr>
        <a:xfrm>
          <a:off x="2094682" y="1854729"/>
          <a:ext cx="1928812" cy="17092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kern="1200" smtClean="0"/>
            <a:t>Текстові</a:t>
          </a:r>
          <a:r>
            <a:rPr lang="ru-RU" sz="1800" b="1" kern="1200" smtClean="0"/>
            <a:t/>
          </a:r>
          <a:br>
            <a:rPr lang="ru-RU" sz="1800" b="1" kern="1200" smtClean="0"/>
          </a:br>
          <a:r>
            <a:rPr lang="ru-RU" sz="1800" b="1" i="0" kern="1200" smtClean="0"/>
            <a:t>процесори</a:t>
          </a:r>
          <a:endParaRPr lang="ru-RU" sz="1800" b="1" kern="1200"/>
        </a:p>
      </dsp:txBody>
      <dsp:txXfrm>
        <a:off x="2144743" y="1904790"/>
        <a:ext cx="1828690" cy="1609086"/>
      </dsp:txXfrm>
    </dsp:sp>
    <dsp:sp modelId="{7D615A53-7D24-4830-B8EA-4AE971289824}">
      <dsp:nvSpPr>
        <dsp:cNvPr id="0" name=""/>
        <dsp:cNvSpPr/>
      </dsp:nvSpPr>
      <dsp:spPr>
        <a:xfrm>
          <a:off x="4185515" y="1854729"/>
          <a:ext cx="3938635" cy="17092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 dirty="0" smtClean="0"/>
            <a:t>HTML</a:t>
          </a:r>
          <a:r>
            <a:rPr lang="ru-RU" sz="1800" b="1" i="0" kern="1200" dirty="0" err="1" smtClean="0"/>
            <a:t>редактори</a:t>
          </a:r>
          <a:endParaRPr lang="ru-RU" sz="1800" b="1" kern="1200" dirty="0"/>
        </a:p>
      </dsp:txBody>
      <dsp:txXfrm>
        <a:off x="4235576" y="1904790"/>
        <a:ext cx="3838513" cy="1609086"/>
      </dsp:txXfrm>
    </dsp:sp>
    <dsp:sp modelId="{6A9B2414-3214-4675-B4DC-86BB51111228}">
      <dsp:nvSpPr>
        <dsp:cNvPr id="0" name=""/>
        <dsp:cNvSpPr/>
      </dsp:nvSpPr>
      <dsp:spPr>
        <a:xfrm>
          <a:off x="4185515" y="3707511"/>
          <a:ext cx="1928812" cy="170920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Текстові</a:t>
          </a:r>
          <a:endParaRPr lang="ru-RU" sz="1800" b="1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4235576" y="3757572"/>
        <a:ext cx="1828690" cy="1609086"/>
      </dsp:txXfrm>
    </dsp:sp>
    <dsp:sp modelId="{10A8D4CB-383B-49FC-8A1A-4929D88AA281}">
      <dsp:nvSpPr>
        <dsp:cNvPr id="0" name=""/>
        <dsp:cNvSpPr/>
      </dsp:nvSpPr>
      <dsp:spPr>
        <a:xfrm>
          <a:off x="6195337" y="3707511"/>
          <a:ext cx="1928812" cy="170920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kern="1200" dirty="0" err="1" smtClean="0">
              <a:solidFill>
                <a:schemeClr val="tx1">
                  <a:lumMod val="75000"/>
                  <a:lumOff val="25000"/>
                </a:schemeClr>
              </a:solidFill>
            </a:rPr>
            <a:t>Графічні</a:t>
          </a:r>
          <a:endParaRPr lang="ru-RU" sz="1800" b="1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6245398" y="3757572"/>
        <a:ext cx="1828690" cy="16090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PlusandMinus">
  <dgm:title val=""/>
  <dgm:desc val=""/>
  <dgm:catLst>
    <dgm:cat type="relationship" pri="36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2"/>
      <dgm:chPref val="2"/>
      <dgm:dir/>
      <dgm:animOne/>
      <dgm:resizeHandles val="exact"/>
    </dgm:varLst>
    <dgm:alg type="composite">
      <dgm:param type="ar" val="1.8238"/>
    </dgm:alg>
    <dgm:shape xmlns:r="http://schemas.openxmlformats.org/officeDocument/2006/relationships" r:blip="">
      <dgm:adjLst/>
    </dgm:shape>
    <dgm:choose name="Name1">
      <dgm:if name="Name2" func="var" arg="dir" op="equ" val="norm">
        <dgm:constrLst>
          <dgm:constr type="primFontSz" for="des" ptType="node" op="equ" val="65"/>
          <dgm:constr type="l" for="ch" forName="Background" refType="w" fact="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l" for="ch" forName="ParentText1" refType="w" fact="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l" for="ch" forName="ParentText2" refType="w" fact="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l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l" for="ch" forName="Minus" refType="w" fact="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l" for="ch" forName="Divider" refType="w" fact="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if>
      <dgm:else name="Name3">
        <dgm:constrLst>
          <dgm:constr type="primFontSz" for="des" ptType="node" op="equ" val="65"/>
          <dgm:constr type="r" for="ch" forName="Background" refType="w" fact="-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r" for="ch" forName="ParentText1" refType="w" fact="-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r" for="ch" forName="ParentText2" refType="w" fact="-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r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r" for="ch" forName="Minus" refType="w" fact="-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r" for="ch" forName="Divider" refType="w" fact="-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else>
    </dgm:choose>
    <dgm:layoutNode name="Background" styleLbl="bgImgPlace1">
      <dgm:alg type="sp"/>
      <dgm:shape xmlns:r="http://schemas.openxmlformats.org/officeDocument/2006/relationships" type="rect" r:blip="">
        <dgm:adjLst/>
      </dgm:shape>
      <dgm:presOf/>
    </dgm:layoutNode>
    <dgm:layoutNode name="ParentText1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1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arentText2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2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lus" styleLbl="alignNode1">
      <dgm:alg type="sp"/>
      <dgm:shape xmlns:r="http://schemas.openxmlformats.org/officeDocument/2006/relationships" type="plus" r:blip="">
        <dgm:adjLst>
          <dgm:adj idx="1" val="0.3281"/>
        </dgm:adjLst>
      </dgm:shape>
      <dgm:presOf/>
    </dgm:layoutNode>
    <dgm:layoutNode name="Minus" styleLbl="alignNode1">
      <dgm:alg type="sp"/>
      <dgm:shape xmlns:r="http://schemas.openxmlformats.org/officeDocument/2006/relationships" type="rect" r:blip="">
        <dgm:adjLst/>
      </dgm:shape>
      <dgm:presOf/>
    </dgm:layoutNode>
    <dgm:layoutNode name="Divider" styleLbl="parChTrans1D1">
      <dgm:alg type="sp"/>
      <dgm:shape xmlns:r="http://schemas.openxmlformats.org/officeDocument/2006/relationships" type="line" r:blip="">
        <dgm:adjLst/>
      </dgm:shape>
      <dgm:presOf/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2#3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DD1C9-4BB6-422A-8F34-C157EA500BD9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A997E4-EE34-411C-9FF1-22B934EF53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27411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F940C-68FE-49E3-B138-F7B71AED1205}" type="datetimeFigureOut">
              <a:rPr lang="ru-RU" smtClean="0"/>
              <a:pPr/>
              <a:t>23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D50026-ED07-4F79-8A41-D403080435A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042B24-5628-4EE2-A5C0-B4E095A4480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719961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774147A1-E907-4946-BA3F-6EBECF175253}" type="slidenum">
              <a:rPr lang="en-US" smtClean="0"/>
              <a:pPr/>
              <a:t>4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50026-ED07-4F79-8A41-D403080435A6}" type="slidenum">
              <a:rPr lang="ru-RU" smtClean="0"/>
              <a:pPr/>
              <a:t>4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1243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50026-ED07-4F79-8A41-D403080435A6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15092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50026-ED07-4F79-8A41-D403080435A6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17256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6AAB92E8-9005-4186-A40B-EE4B1028F9BD}" type="slidenum">
              <a:rPr lang="en-US" smtClean="0"/>
              <a:pPr/>
              <a:t>3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C62DDA10-173D-4F8B-83A5-C2A8019A7F17}" type="slidenum">
              <a:rPr lang="en-US" smtClean="0"/>
              <a:pPr/>
              <a:t>3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70A4BB6E-A792-4D61-A50C-FD04041767F3}" type="slidenum">
              <a:rPr lang="en-US" smtClean="0"/>
              <a:pPr/>
              <a:t>3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44B93C52-3978-407A-97F0-CDC6617C5A59}" type="slidenum">
              <a:rPr lang="en-US" smtClean="0"/>
              <a:pPr/>
              <a:t>3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BD5F0F15-CC09-4FE8-A430-6FE69D373432}" type="slidenum">
              <a:rPr lang="en-US" smtClean="0"/>
              <a:pPr/>
              <a:t>3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3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/>
          </a:p>
        </p:txBody>
      </p:sp>
      <p:sp>
        <p:nvSpPr>
          <p:cNvPr id="3" name="Notes Placeholder 4"/>
          <p:cNvSpPr>
            <a:spLocks noGrp="1" noEditPoints="1"/>
          </p:cNvSpPr>
          <p:nvPr>
            <p:ph type="body" idx="3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Slide Number Placeholder 6"/>
          <p:cNvSpPr>
            <a:spLocks noGrp="1" noEditPoints="1"/>
          </p:cNvSpPr>
          <p:nvPr>
            <p:ph type="sldNum" sz="quarter" idx="5"/>
          </p:nvPr>
        </p:nvSpPr>
        <p:spPr/>
        <p:txBody>
          <a:bodyPr/>
          <a:lstStyle/>
          <a:p>
            <a:fld id="{2BC65907-9444-4C86-89E9-B97415624E13}" type="slidenum">
              <a:rPr lang="en-US" smtClean="0"/>
              <a:pPr/>
              <a:t>3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8A06592-E8A0-422A-BF32-BD019B5904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BDB78A5C-5371-4F7D-A29E-EE775853A4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CF8FF35-CF45-4B94-B4DC-B4011D24C6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4ADA0BE-1E60-468F-AD5F-53CDC3D3F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63BE571-37B6-4963-AEB8-C04BAD369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68535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F6A6202-F8D6-459A-BA55-16187A366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C31BB52C-2DE2-450A-93D2-075E38CAC1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3B4FA63-EC27-4C6C-9041-6BEA2EA3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BDC6887-A53D-42DB-80D3-8BD675AC9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2EE8BBA-92A8-4E26-89F8-C6C863CB1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59072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407C9A78-C54B-4E73-B4BD-378FD2FDBE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FFC92EC4-EBFD-4A9F-AA38-3EBDC9D054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9936265-2868-4141-85B9-CD5F87A3F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B77DF389-1344-4E66-ABB1-FF4F1C05A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773D2AF-3F6E-496F-AD2C-CE36D53BB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40488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552" y="34316"/>
            <a:ext cx="10128448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1040845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7" y="1260377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=""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6"/>
            <a:ext cx="7665776" cy="701731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9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5836129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11889148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p:oleObj spid="_x0000_s56337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9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945026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="" xmlns:a16="http://schemas.microsoft.com/office/drawing/2014/main" id="{CBF662B1-E5B0-48D2-B39D-43A30B4B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2" y="230314"/>
            <a:ext cx="5104002" cy="131112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B142802C-AEEA-4B92-B5B3-0756576E8F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1" y="843419"/>
            <a:ext cx="5104001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1533718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6549362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552" y="34316"/>
            <a:ext cx="10128448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1704636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1585885"/>
            <a:ext cx="2304256" cy="2611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613563" y="1585885"/>
            <a:ext cx="2304256" cy="2611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6315701" y="1585885"/>
            <a:ext cx="2304256" cy="2611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017840" y="1585885"/>
            <a:ext cx="2304256" cy="2611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367633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01067" y="1578189"/>
            <a:ext cx="4195201" cy="25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532251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2FB5A1D-49E3-4563-A7EA-4F4FA0B6A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64ED2B2-7550-4269-9F2C-1AB8F72EE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E57819A-AC7F-4B29-8C9F-0FE0EBB56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5A096F6-D161-472A-8174-D5245497B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C73C85F-3F0E-420B-B16E-7623810E4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815111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601048"/>
            <a:ext cx="6096001" cy="225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096000" y="3856941"/>
            <a:ext cx="6096001" cy="225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6091075" y="1600120"/>
            <a:ext cx="1889279" cy="22569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209186" y="3856941"/>
            <a:ext cx="1889279" cy="22569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38079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519938" y="740702"/>
            <a:ext cx="2200396" cy="5397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119671" y="740702"/>
            <a:ext cx="2200396" cy="5397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719404" y="740702"/>
            <a:ext cx="2200396" cy="5397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13239224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19403" y="719400"/>
            <a:ext cx="4704523" cy="5424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5404654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84151" cy="3429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tIns="540000" anchor="t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636203" y="1988843"/>
            <a:ext cx="1853373" cy="26459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9186272" y="1988843"/>
            <a:ext cx="1853373" cy="26459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939595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" y="0"/>
            <a:ext cx="12192000" cy="37170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7404895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1260000" anchor="ctr"/>
          <a:lstStyle>
            <a:lvl1pPr marL="0" indent="0" algn="l">
              <a:buNone/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2009900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28056" y="1562581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728056" y="3816224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728056" y="2956276"/>
            <a:ext cx="2592000" cy="707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28056" y="5447872"/>
            <a:ext cx="2592000" cy="7079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3444409" y="1562581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443961" y="3816224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443961" y="2956276"/>
            <a:ext cx="2592000" cy="7079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443513" y="5447872"/>
            <a:ext cx="2592000" cy="7079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6159868" y="1562581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6159420" y="3816224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159420" y="2956276"/>
            <a:ext cx="2592000" cy="7079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58971" y="5447872"/>
            <a:ext cx="2592000" cy="7079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875326" y="1562581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8875326" y="3816224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8875326" y="2956276"/>
            <a:ext cx="2592000" cy="7079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875326" y="5447872"/>
            <a:ext cx="2592000" cy="707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39540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1652723"/>
            <a:ext cx="12192000" cy="4464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4098" name="Picture 2" descr="D:\KBM-정애\014-Fullppt\PNG이미지\노트북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8756" y="1892831"/>
            <a:ext cx="7680853" cy="39066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427339" y="2408746"/>
            <a:ext cx="3601864" cy="2652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437068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D:\KBM-정애\014-Fullppt\PNG이미지\핸드폰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70" y="1604797"/>
            <a:ext cx="3329905" cy="403244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D:\KBM-정애\014-Fullppt\PNG이미지\핸드폰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0839" y="1604797"/>
            <a:ext cx="3329905" cy="403244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D:\KBM-정애\014-Fullppt\PNG이미지\핸드폰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206" y="1604797"/>
            <a:ext cx="3329905" cy="403244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" y="34316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802416" y="1748118"/>
            <a:ext cx="1930667" cy="294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5122446" y="1748118"/>
            <a:ext cx="1930667" cy="294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8442475" y="1748118"/>
            <a:ext cx="1930667" cy="294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1804403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164640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333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472012" y="1508788"/>
            <a:ext cx="3799787" cy="4865561"/>
          </a:xfrm>
          <a:prstGeom prst="roundRect">
            <a:avLst>
              <a:gd name="adj" fmla="val 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709244" y="1796669"/>
            <a:ext cx="144693" cy="4320631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6" name="Half Frame 15"/>
          <p:cNvSpPr/>
          <p:nvPr userDrawn="1"/>
        </p:nvSpPr>
        <p:spPr>
          <a:xfrm rot="5400000">
            <a:off x="3456858" y="1650936"/>
            <a:ext cx="669775" cy="669775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18394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F711832-C63F-4C44-8EB4-B1DC84957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6BAD9DA-E4F7-4BF8-9481-826635B16D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303F795-76F2-4E81-B0E8-02EF1E4F1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EC9C97A0-C63C-4A01-872C-1104FCF8E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55A1274-8B6A-484B-9832-C7D14C45ED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308992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" y="200178"/>
            <a:ext cx="12192000" cy="77577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="" xmlns:a16="http://schemas.microsoft.com/office/drawing/2014/main" id="{55674156-3125-48CE-B7AD-16F5FF6CA05A}"/>
              </a:ext>
            </a:extLst>
          </p:cNvPr>
          <p:cNvSpPr/>
          <p:nvPr userDrawn="1"/>
        </p:nvSpPr>
        <p:spPr>
          <a:xfrm>
            <a:off x="1" y="6597352"/>
            <a:ext cx="12192000" cy="2606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" name="텍스트 개체 틀 2">
            <a:extLst>
              <a:ext uri="{FF2B5EF4-FFF2-40B4-BE49-F238E27FC236}">
                <a16:creationId xmlns=""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" y="1005383"/>
            <a:ext cx="12192000" cy="419379"/>
          </a:xfrm>
          <a:prstGeom prst="rect">
            <a:avLst/>
          </a:prstGeom>
        </p:spPr>
        <p:txBody>
          <a:bodyPr lIns="68580" tIns="34290" rIns="68580" bIns="34290" anchor="ctr"/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856381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:\002-KIMS BUSINESS\007-bizdesign.tv\000-PPT FOR KMONG\PSD\13-05-14\모니터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517" y="862367"/>
            <a:ext cx="4560219" cy="39855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894025" y="992872"/>
            <a:ext cx="4195201" cy="25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3733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="" xmlns:a16="http://schemas.microsoft.com/office/drawing/2014/main" id="{120A1E39-4EAE-4670-B341-E876511388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5604690"/>
            <a:ext cx="12191999" cy="276737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600" b="1" baseline="0">
                <a:solidFill>
                  <a:schemeClr val="tx1"/>
                </a:solidFill>
                <a:effectLst/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 OF YOUR PRESENTATION HERE</a:t>
            </a:r>
            <a:endParaRPr lang="ko-KR" altLang="en-US" dirty="0"/>
          </a:p>
        </p:txBody>
      </p:sp>
      <p:sp>
        <p:nvSpPr>
          <p:cNvPr id="8" name="제목 1">
            <a:extLst>
              <a:ext uri="{FF2B5EF4-FFF2-40B4-BE49-F238E27FC236}">
                <a16:creationId xmlns="" xmlns:a16="http://schemas.microsoft.com/office/drawing/2014/main" id="{3DAC9DBF-2FD4-4775-8F53-02C2F29CA8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4869160"/>
            <a:ext cx="12191997" cy="720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FREE PPT TEMPLATES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840026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1" y="213042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43365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57389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5285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87797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535115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5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87874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533791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13171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4007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D20DE0D-6B62-48C9-B5F9-E3A619E86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8CFC8A4-3E18-4D74-9016-1CA466660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FAB43B8C-D619-4BEE-BA5D-A07F42505F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66ABCDC-AF56-41D7-BA9F-6A6C4DD04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774B97FD-87D9-456D-8D30-B6BBF5235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8A5D709-6477-4811-891E-723CF29F5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885429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8" y="536734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108658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445677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50938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" y="-3938"/>
            <a:ext cx="12192000" cy="686193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noFill/>
            <a:miter lim="800000"/>
          </a:ln>
        </p:spPr>
        <p:txBody>
          <a:bodyPr vert="horz" wrap="square" lIns="91440" tIns="45720" rIns="91440" bIns="45720" anchor="t"/>
          <a:lstStyle/>
          <a:p>
            <a:endParaRPr lang="en-IN"/>
          </a:p>
        </p:txBody>
      </p:sp>
      <p:sp>
        <p:nvSpPr>
          <p:cNvPr id="22" name="Freeform: Shape 21"/>
          <p:cNvSpPr/>
          <p:nvPr userDrawn="1"/>
        </p:nvSpPr>
        <p:spPr bwMode="auto">
          <a:xfrm>
            <a:off x="8677113" y="-3939"/>
            <a:ext cx="3514887" cy="3346940"/>
          </a:xfrm>
          <a:custGeom>
            <a:avLst/>
            <a:gdLst/>
            <a:ahLst/>
            <a:cxnLst/>
            <a:rect l="l" t="t" r="r" b="b"/>
            <a:pathLst>
              <a:path w="3513972" h="3346940">
                <a:moveTo>
                  <a:pt x="2913417" y="0"/>
                </a:moveTo>
                <a:lnTo>
                  <a:pt x="3513972" y="0"/>
                </a:lnTo>
                <a:lnTo>
                  <a:pt x="3513972" y="279302"/>
                </a:lnTo>
                <a:lnTo>
                  <a:pt x="540890" y="3246877"/>
                </a:lnTo>
                <a:lnTo>
                  <a:pt x="535325" y="3253409"/>
                </a:lnTo>
                <a:cubicBezTo>
                  <a:pt x="410415" y="3378118"/>
                  <a:pt x="214129" y="3378118"/>
                  <a:pt x="89220" y="3253409"/>
                </a:cubicBezTo>
                <a:cubicBezTo>
                  <a:pt x="-14871" y="3149484"/>
                  <a:pt x="-27882" y="2981906"/>
                  <a:pt x="50186" y="2862068"/>
                </a:cubicBezTo>
                <a:lnTo>
                  <a:pt x="88831" y="2814436"/>
                </a:lnTo>
                <a:lnTo>
                  <a:pt x="88383" y="2813995"/>
                </a:lnTo>
                <a:lnTo>
                  <a:pt x="2913417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13" name="Freeform 10"/>
          <p:cNvSpPr/>
          <p:nvPr userDrawn="1"/>
        </p:nvSpPr>
        <p:spPr bwMode="auto">
          <a:xfrm>
            <a:off x="2494663" y="-3938"/>
            <a:ext cx="9470967" cy="6858905"/>
          </a:xfrm>
          <a:custGeom>
            <a:avLst/>
            <a:gdLst/>
            <a:ahLst/>
            <a:cxnLst/>
            <a:rect l="l" t="t" r="r" b="b"/>
            <a:pathLst>
              <a:path w="8552" h="6195">
                <a:moveTo>
                  <a:pt x="6204" y="0"/>
                </a:moveTo>
                <a:lnTo>
                  <a:pt x="0" y="6195"/>
                </a:lnTo>
                <a:lnTo>
                  <a:pt x="2348" y="6195"/>
                </a:lnTo>
                <a:lnTo>
                  <a:pt x="8552" y="0"/>
                </a:lnTo>
                <a:lnTo>
                  <a:pt x="6204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/>
          <a:lstStyle/>
          <a:p>
            <a:endParaRPr lang="en-IN"/>
          </a:p>
        </p:txBody>
      </p:sp>
      <p:sp>
        <p:nvSpPr>
          <p:cNvPr id="25" name="Freeform: Shape 24"/>
          <p:cNvSpPr/>
          <p:nvPr userDrawn="1"/>
        </p:nvSpPr>
        <p:spPr bwMode="auto">
          <a:xfrm>
            <a:off x="4454629" y="-3938"/>
            <a:ext cx="5566421" cy="4868421"/>
          </a:xfrm>
          <a:custGeom>
            <a:avLst/>
            <a:gdLst/>
            <a:ahLst/>
            <a:cxnLst/>
            <a:rect l="l" t="t" r="r" b="b"/>
            <a:pathLst>
              <a:path w="5564971" h="4868421">
                <a:moveTo>
                  <a:pt x="4191644" y="0"/>
                </a:moveTo>
                <a:lnTo>
                  <a:pt x="5564971" y="0"/>
                </a:lnTo>
                <a:lnTo>
                  <a:pt x="832293" y="4726053"/>
                </a:lnTo>
                <a:lnTo>
                  <a:pt x="832223" y="4725984"/>
                </a:lnTo>
                <a:lnTo>
                  <a:pt x="755896" y="4788243"/>
                </a:lnTo>
                <a:cubicBezTo>
                  <a:pt x="566667" y="4912966"/>
                  <a:pt x="309158" y="4892178"/>
                  <a:pt x="142689" y="4725881"/>
                </a:cubicBezTo>
                <a:cubicBezTo>
                  <a:pt x="-23781" y="4559584"/>
                  <a:pt x="-44590" y="4302343"/>
                  <a:pt x="80263" y="4117289"/>
                </a:cubicBezTo>
                <a:lnTo>
                  <a:pt x="142600" y="4042981"/>
                </a:lnTo>
                <a:lnTo>
                  <a:pt x="142318" y="4042702"/>
                </a:lnTo>
                <a:lnTo>
                  <a:pt x="4191644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3" name="Freeform: Shape 22"/>
          <p:cNvSpPr/>
          <p:nvPr userDrawn="1"/>
        </p:nvSpPr>
        <p:spPr bwMode="auto">
          <a:xfrm>
            <a:off x="2" y="1038973"/>
            <a:ext cx="5852549" cy="5819568"/>
          </a:xfrm>
          <a:custGeom>
            <a:avLst/>
            <a:gdLst/>
            <a:ahLst/>
            <a:cxnLst/>
            <a:rect l="l" t="t" r="r" b="b"/>
            <a:pathLst>
              <a:path w="5851025" h="5819568">
                <a:moveTo>
                  <a:pt x="4757495" y="0"/>
                </a:moveTo>
                <a:cubicBezTo>
                  <a:pt x="5036267" y="0"/>
                  <a:pt x="5315783" y="105385"/>
                  <a:pt x="5529880" y="316157"/>
                </a:cubicBezTo>
                <a:cubicBezTo>
                  <a:pt x="5958074" y="743636"/>
                  <a:pt x="5958074" y="1432354"/>
                  <a:pt x="5529880" y="1853896"/>
                </a:cubicBezTo>
                <a:lnTo>
                  <a:pt x="5529675" y="1854082"/>
                </a:lnTo>
                <a:lnTo>
                  <a:pt x="5529737" y="1854144"/>
                </a:lnTo>
                <a:lnTo>
                  <a:pt x="1564312" y="5819568"/>
                </a:lnTo>
                <a:lnTo>
                  <a:pt x="0" y="5819568"/>
                </a:lnTo>
                <a:lnTo>
                  <a:pt x="0" y="4299415"/>
                </a:lnTo>
                <a:lnTo>
                  <a:pt x="3986608" y="319427"/>
                </a:lnTo>
                <a:lnTo>
                  <a:pt x="3989570" y="316157"/>
                </a:lnTo>
                <a:cubicBezTo>
                  <a:pt x="4200694" y="105385"/>
                  <a:pt x="4478723" y="0"/>
                  <a:pt x="4757495" y="0"/>
                </a:cubicBez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4" name="Freeform: Shape 23"/>
          <p:cNvSpPr/>
          <p:nvPr userDrawn="1"/>
        </p:nvSpPr>
        <p:spPr bwMode="auto">
          <a:xfrm>
            <a:off x="268910" y="-3938"/>
            <a:ext cx="3978029" cy="3698123"/>
          </a:xfrm>
          <a:custGeom>
            <a:avLst/>
            <a:gdLst/>
            <a:ahLst/>
            <a:cxnLst/>
            <a:rect l="l" t="t" r="r" b="b"/>
            <a:pathLst>
              <a:path w="3976993" h="3698123">
                <a:moveTo>
                  <a:pt x="3441572" y="0"/>
                </a:moveTo>
                <a:lnTo>
                  <a:pt x="3976993" y="0"/>
                </a:lnTo>
                <a:lnTo>
                  <a:pt x="319573" y="3645276"/>
                </a:lnTo>
                <a:lnTo>
                  <a:pt x="319362" y="3645060"/>
                </a:lnTo>
                <a:lnTo>
                  <a:pt x="258903" y="3684768"/>
                </a:lnTo>
                <a:cubicBezTo>
                  <a:pt x="191945" y="3711479"/>
                  <a:pt x="111596" y="3698124"/>
                  <a:pt x="58030" y="3644702"/>
                </a:cubicBezTo>
                <a:cubicBezTo>
                  <a:pt x="-19343" y="3573472"/>
                  <a:pt x="-19343" y="3454756"/>
                  <a:pt x="58030" y="3377591"/>
                </a:cubicBezTo>
                <a:lnTo>
                  <a:pt x="62516" y="3374645"/>
                </a:lnTo>
                <a:lnTo>
                  <a:pt x="3441572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1" name="Freeform: Shape 20"/>
          <p:cNvSpPr/>
          <p:nvPr userDrawn="1"/>
        </p:nvSpPr>
        <p:spPr bwMode="auto">
          <a:xfrm>
            <a:off x="6416258" y="3587392"/>
            <a:ext cx="3539446" cy="3270611"/>
          </a:xfrm>
          <a:custGeom>
            <a:avLst/>
            <a:gdLst/>
            <a:ahLst/>
            <a:cxnLst/>
            <a:rect l="l" t="t" r="r" b="b"/>
            <a:pathLst>
              <a:path w="3538524" h="3270611">
                <a:moveTo>
                  <a:pt x="3353276" y="0"/>
                </a:moveTo>
                <a:cubicBezTo>
                  <a:pt x="3401634" y="0"/>
                  <a:pt x="3449248" y="17807"/>
                  <a:pt x="3484959" y="53422"/>
                </a:cubicBezTo>
                <a:cubicBezTo>
                  <a:pt x="3556380" y="130587"/>
                  <a:pt x="3556380" y="249303"/>
                  <a:pt x="3484959" y="320533"/>
                </a:cubicBezTo>
                <a:lnTo>
                  <a:pt x="3483252" y="321652"/>
                </a:lnTo>
                <a:lnTo>
                  <a:pt x="3484624" y="323024"/>
                </a:lnTo>
                <a:lnTo>
                  <a:pt x="532589" y="3270611"/>
                </a:lnTo>
                <a:lnTo>
                  <a:pt x="0" y="3270611"/>
                </a:lnTo>
                <a:lnTo>
                  <a:pt x="3215550" y="53949"/>
                </a:lnTo>
                <a:lnTo>
                  <a:pt x="3216318" y="54717"/>
                </a:lnTo>
                <a:lnTo>
                  <a:pt x="3217128" y="53422"/>
                </a:lnTo>
                <a:cubicBezTo>
                  <a:pt x="3255815" y="17807"/>
                  <a:pt x="3304917" y="0"/>
                  <a:pt x="3353276" y="0"/>
                </a:cubicBez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7920121" y="-3938"/>
            <a:ext cx="3073698" cy="307289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-17633" y="3029744"/>
            <a:ext cx="1737841" cy="17373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 noEditPoints="1"/>
          </p:cNvSpPr>
          <p:nvPr>
            <p:ph type="ctrTitle"/>
          </p:nvPr>
        </p:nvSpPr>
        <p:spPr>
          <a:xfrm>
            <a:off x="591707" y="3174424"/>
            <a:ext cx="5360240" cy="2502827"/>
          </a:xfrm>
        </p:spPr>
        <p:txBody>
          <a:bodyPr lIns="0" rIns="0" anchor="b">
            <a:noAutofit/>
          </a:bodyPr>
          <a:lstStyle>
            <a:lvl1pPr algn="l">
              <a:lnSpc>
                <a:spcPct val="80000"/>
              </a:lnSpc>
              <a:defRPr lang="en-US" sz="6600" b="1" kern="12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EditPoints="1"/>
          </p:cNvSpPr>
          <p:nvPr>
            <p:ph type="subTitle" idx="1"/>
          </p:nvPr>
        </p:nvSpPr>
        <p:spPr>
          <a:xfrm>
            <a:off x="591706" y="5682374"/>
            <a:ext cx="5360240" cy="554938"/>
          </a:xfrm>
        </p:spPr>
        <p:txBody>
          <a:bodyPr lIns="0" rIns="0">
            <a:normAutofit/>
          </a:bodyPr>
          <a:lstStyle>
            <a:lvl1pPr marL="0" indent="0" algn="l">
              <a:buNone/>
              <a:defRPr lang="en-US" sz="2400" kern="12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1" y="274642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267422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1" y="970944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9" name="Rectangle 8"/>
          <p:cNvSpPr/>
          <p:nvPr userDrawn="1"/>
        </p:nvSpPr>
        <p:spPr>
          <a:xfrm>
            <a:off x="2" y="3573016"/>
            <a:ext cx="12192000" cy="32849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1" y="735874"/>
            <a:ext cx="10972801" cy="711081"/>
          </a:xfrm>
        </p:spPr>
        <p:txBody>
          <a:bodyPr lIns="0" rIns="0"/>
          <a:lstStyle>
            <a:lvl1pPr algn="ctr"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1" y="1432176"/>
            <a:ext cx="10972482" cy="412651"/>
          </a:xfrm>
        </p:spPr>
        <p:txBody>
          <a:bodyPr lIns="0" rIns="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9" name="Rectangle 8"/>
          <p:cNvSpPr/>
          <p:nvPr userDrawn="1"/>
        </p:nvSpPr>
        <p:spPr>
          <a:xfrm>
            <a:off x="2" y="3573016"/>
            <a:ext cx="12192000" cy="32849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1" y="274642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267422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1" y="970944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sz="quarter" idx="14"/>
          </p:nvPr>
        </p:nvSpPr>
        <p:spPr>
          <a:xfrm>
            <a:off x="9082950" y="1700216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  <p:sp>
        <p:nvSpPr>
          <p:cNvPr id="20" name="Picture Placeholder 2"/>
          <p:cNvSpPr>
            <a:spLocks noGrp="1" noEditPoints="1"/>
          </p:cNvSpPr>
          <p:nvPr>
            <p:ph type="pic" sz="quarter" idx="15"/>
          </p:nvPr>
        </p:nvSpPr>
        <p:spPr>
          <a:xfrm>
            <a:off x="6446682" y="1700216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  <p:sp>
        <p:nvSpPr>
          <p:cNvPr id="21" name="Picture Placeholder 2"/>
          <p:cNvSpPr>
            <a:spLocks noGrp="1" noEditPoints="1"/>
          </p:cNvSpPr>
          <p:nvPr>
            <p:ph type="pic" sz="quarter" idx="16"/>
          </p:nvPr>
        </p:nvSpPr>
        <p:spPr>
          <a:xfrm>
            <a:off x="3810416" y="1700216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eatur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1" y="274642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267422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1" y="970944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" name="Picture Placeholder 2"/>
          <p:cNvSpPr>
            <a:spLocks noGrp="1" noEditPoints="1"/>
          </p:cNvSpPr>
          <p:nvPr userDrawn="1">
            <p:ph type="pic" sz="quarter" idx="14"/>
          </p:nvPr>
        </p:nvSpPr>
        <p:spPr>
          <a:xfrm>
            <a:off x="598469" y="1701356"/>
            <a:ext cx="2484203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7" name="Picture Placeholder 2"/>
          <p:cNvSpPr>
            <a:spLocks noGrp="1" noEditPoints="1"/>
          </p:cNvSpPr>
          <p:nvPr userDrawn="1">
            <p:ph type="pic" sz="quarter" idx="15"/>
          </p:nvPr>
        </p:nvSpPr>
        <p:spPr>
          <a:xfrm>
            <a:off x="3429850" y="1701356"/>
            <a:ext cx="2485635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4" name="Picture Placeholder 2"/>
          <p:cNvSpPr>
            <a:spLocks noGrp="1" noEditPoints="1"/>
          </p:cNvSpPr>
          <p:nvPr>
            <p:ph type="pic" sz="quarter" idx="16"/>
          </p:nvPr>
        </p:nvSpPr>
        <p:spPr>
          <a:xfrm>
            <a:off x="6241516" y="1701356"/>
            <a:ext cx="2511442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5" name="Picture Placeholder 2"/>
          <p:cNvSpPr>
            <a:spLocks noGrp="1" noEditPoints="1"/>
          </p:cNvSpPr>
          <p:nvPr>
            <p:ph type="pic" sz="quarter" idx="17"/>
          </p:nvPr>
        </p:nvSpPr>
        <p:spPr>
          <a:xfrm>
            <a:off x="9064475" y="1701356"/>
            <a:ext cx="2511442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1" y="274642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267422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1" y="970944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2" name="Oval 1"/>
          <p:cNvSpPr/>
          <p:nvPr userDrawn="1"/>
        </p:nvSpPr>
        <p:spPr>
          <a:xfrm>
            <a:off x="5181260" y="1988840"/>
            <a:ext cx="1829478" cy="182900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Oval 18"/>
          <p:cNvSpPr/>
          <p:nvPr userDrawn="1"/>
        </p:nvSpPr>
        <p:spPr>
          <a:xfrm>
            <a:off x="5181260" y="3991643"/>
            <a:ext cx="1829478" cy="182900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Picture Placeholder 19"/>
          <p:cNvSpPr>
            <a:spLocks noGrp="1" noEditPoints="1"/>
          </p:cNvSpPr>
          <p:nvPr>
            <p:ph type="pic" sz="quarter" idx="14"/>
          </p:nvPr>
        </p:nvSpPr>
        <p:spPr>
          <a:xfrm>
            <a:off x="4252597" y="2290996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2" name="Picture Placeholder 19"/>
          <p:cNvSpPr>
            <a:spLocks noGrp="1" noEditPoints="1"/>
          </p:cNvSpPr>
          <p:nvPr>
            <p:ph type="pic" sz="quarter" idx="15"/>
          </p:nvPr>
        </p:nvSpPr>
        <p:spPr>
          <a:xfrm>
            <a:off x="6694592" y="2290996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3" name="Picture Placeholder 19"/>
          <p:cNvSpPr>
            <a:spLocks noGrp="1" noEditPoints="1"/>
          </p:cNvSpPr>
          <p:nvPr>
            <p:ph type="pic" sz="quarter" idx="16"/>
          </p:nvPr>
        </p:nvSpPr>
        <p:spPr>
          <a:xfrm>
            <a:off x="4252597" y="4306228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4" name="Picture Placeholder 19"/>
          <p:cNvSpPr>
            <a:spLocks noGrp="1" noEditPoints="1"/>
          </p:cNvSpPr>
          <p:nvPr>
            <p:ph type="pic" sz="quarter" idx="17"/>
          </p:nvPr>
        </p:nvSpPr>
        <p:spPr>
          <a:xfrm>
            <a:off x="6694592" y="4306228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 noEditPoints="1"/>
          </p:cNvSpPr>
          <p:nvPr userDrawn="1"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3" name="Text Placeholder 12"/>
          <p:cNvSpPr>
            <a:spLocks noGrp="1" noEditPoints="1"/>
          </p:cNvSpPr>
          <p:nvPr userDrawn="1">
            <p:ph type="body" sz="quarter" idx="14"/>
          </p:nvPr>
        </p:nvSpPr>
        <p:spPr>
          <a:xfrm>
            <a:off x="5087675" y="1100702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7" name="Picture Placeholder 36"/>
          <p:cNvSpPr>
            <a:spLocks noGrp="1" noEditPoints="1"/>
          </p:cNvSpPr>
          <p:nvPr>
            <p:ph type="pic" sz="quarter" idx="15"/>
          </p:nvPr>
        </p:nvSpPr>
        <p:spPr>
          <a:xfrm>
            <a:off x="5087626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/>
          </a:p>
        </p:txBody>
      </p:sp>
      <p:sp>
        <p:nvSpPr>
          <p:cNvPr id="38" name="Picture Placeholder 37"/>
          <p:cNvSpPr>
            <a:spLocks noGrp="1" noEditPoints="1"/>
          </p:cNvSpPr>
          <p:nvPr>
            <p:ph type="pic" sz="quarter" idx="16"/>
          </p:nvPr>
        </p:nvSpPr>
        <p:spPr>
          <a:xfrm>
            <a:off x="7270661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9" name="Picture Placeholder 38"/>
          <p:cNvSpPr>
            <a:spLocks noGrp="1" noEditPoints="1"/>
          </p:cNvSpPr>
          <p:nvPr>
            <p:ph type="pic" sz="quarter" idx="17"/>
          </p:nvPr>
        </p:nvSpPr>
        <p:spPr>
          <a:xfrm>
            <a:off x="9453695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8C60B17-8A2E-49EC-88A5-F06040FBE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2BC5013-81E9-4479-98D8-EAE824C00B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72A213ED-C220-4D10-891C-28F8B140F2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56AB721A-0868-40A8-8EF1-A95435E179A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E8ED4320-E42F-477F-83A8-55A7D55FEA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08D1D713-62EA-4526-976B-847A68AFA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F8A5E633-3CFA-48A5-8560-B7704A5A5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47ECFB2B-1FA9-453C-8E05-EB0AF4302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74511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 noEditPoints="1"/>
          </p:cNvSpPr>
          <p:nvPr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11" name="Text Placeholder 12"/>
          <p:cNvSpPr>
            <a:spLocks noGrp="1" noEditPoints="1"/>
          </p:cNvSpPr>
          <p:nvPr>
            <p:ph type="body" sz="quarter" idx="14"/>
          </p:nvPr>
        </p:nvSpPr>
        <p:spPr>
          <a:xfrm>
            <a:off x="5087675" y="1100702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sz="quarter" idx="15"/>
          </p:nvPr>
        </p:nvSpPr>
        <p:spPr>
          <a:xfrm>
            <a:off x="5072942" y="1926398"/>
            <a:ext cx="6502131" cy="330280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16" name="Text Placeholder 12"/>
          <p:cNvSpPr>
            <a:spLocks noGrp="1" noEditPoints="1"/>
          </p:cNvSpPr>
          <p:nvPr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17" name="Text Placeholder 12"/>
          <p:cNvSpPr>
            <a:spLocks noGrp="1" noEditPoints="1"/>
          </p:cNvSpPr>
          <p:nvPr>
            <p:ph type="body" sz="quarter" idx="14"/>
          </p:nvPr>
        </p:nvSpPr>
        <p:spPr>
          <a:xfrm>
            <a:off x="5087675" y="1100702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-righ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/>
          <p:cNvSpPr>
            <a:spLocks noGrp="1" noEditPoints="1"/>
          </p:cNvSpPr>
          <p:nvPr>
            <p:ph type="pic" sz="quarter" idx="13"/>
          </p:nvPr>
        </p:nvSpPr>
        <p:spPr>
          <a:xfrm>
            <a:off x="617699" y="638631"/>
            <a:ext cx="4984460" cy="228631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Picture Placeholder 32"/>
          <p:cNvSpPr>
            <a:spLocks noGrp="1" noEditPoints="1"/>
          </p:cNvSpPr>
          <p:nvPr>
            <p:ph type="pic" sz="quarter" idx="13"/>
          </p:nvPr>
        </p:nvSpPr>
        <p:spPr>
          <a:xfrm>
            <a:off x="996359" y="992226"/>
            <a:ext cx="2976195" cy="2562667"/>
          </a:xfrm>
          <a:custGeom>
            <a:avLst/>
            <a:gdLst/>
            <a:ahLst/>
            <a:cxnLst/>
            <a:rect l="l" t="t" r="r" b="b"/>
            <a:pathLst>
              <a:path w="2975420" h="2562667">
                <a:moveTo>
                  <a:pt x="0" y="0"/>
                </a:moveTo>
                <a:lnTo>
                  <a:pt x="2975420" y="0"/>
                </a:lnTo>
                <a:lnTo>
                  <a:pt x="2975420" y="2562667"/>
                </a:lnTo>
                <a:lnTo>
                  <a:pt x="0" y="256266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endParaRPr lang="en-IN"/>
          </a:p>
        </p:txBody>
      </p:sp>
      <p:sp>
        <p:nvSpPr>
          <p:cNvPr id="36" name="Picture Placeholder 35"/>
          <p:cNvSpPr>
            <a:spLocks noGrp="1" noEditPoints="1"/>
          </p:cNvSpPr>
          <p:nvPr>
            <p:ph type="pic" sz="quarter" idx="14"/>
          </p:nvPr>
        </p:nvSpPr>
        <p:spPr>
          <a:xfrm>
            <a:off x="7088725" y="3943006"/>
            <a:ext cx="4104365" cy="1912851"/>
          </a:xfrm>
          <a:custGeom>
            <a:avLst/>
            <a:gdLst/>
            <a:ahLst/>
            <a:cxnLst/>
            <a:rect l="l" t="t" r="r" b="b"/>
            <a:pathLst>
              <a:path w="4103296" h="1912851">
                <a:moveTo>
                  <a:pt x="0" y="0"/>
                </a:moveTo>
                <a:lnTo>
                  <a:pt x="4103296" y="0"/>
                </a:lnTo>
                <a:lnTo>
                  <a:pt x="4103296" y="1912851"/>
                </a:lnTo>
                <a:lnTo>
                  <a:pt x="0" y="19128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endParaRPr lang="en-IN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 noEditPoints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609601" y="1535116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 noEditPoints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 noEditPoints="1"/>
          </p:cNvSpPr>
          <p:nvPr>
            <p:ph type="body" sz="quarter" idx="3"/>
          </p:nvPr>
        </p:nvSpPr>
        <p:spPr>
          <a:xfrm>
            <a:off x="6193369" y="1535116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 noEditPoints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8" name="Footer Placeholder 7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/>
          <p:cNvSpPr/>
          <p:nvPr userDrawn="1"/>
        </p:nvSpPr>
        <p:spPr bwMode="auto">
          <a:xfrm>
            <a:off x="1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4" name="Footer Placeholder 3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5E334B2-FAE6-4B9A-9ADD-34A408A3D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F57961B7-E01A-424B-B7AC-BA8991AFD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71A76FE2-15DE-4C49-A770-A458102C8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10020FC-C083-44B2-894D-A8A3DFA6F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79450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609602" y="273052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 noEditPoints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2389719" y="4800603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pPr lvl="0"/>
            <a:endParaRPr lang="en-US"/>
          </a:p>
        </p:txBody>
      </p:sp>
      <p:sp>
        <p:nvSpPr>
          <p:cNvPr id="4" name="Text Placeholder 3"/>
          <p:cNvSpPr>
            <a:spLocks noGrp="1" noEditPoints="1"/>
          </p:cNvSpPr>
          <p:nvPr>
            <p:ph type="body" sz="half" idx="2"/>
          </p:nvPr>
        </p:nvSpPr>
        <p:spPr>
          <a:xfrm>
            <a:off x="2389719" y="5367341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 noEditPoints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 noEditPoints="1"/>
          </p:cNvSpPr>
          <p:nvPr>
            <p:ph type="title" orient="vert"/>
          </p:nvPr>
        </p:nvSpPr>
        <p:spPr>
          <a:xfrm>
            <a:off x="8839200" y="274642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 noEditPoints="1"/>
          </p:cNvSpPr>
          <p:nvPr>
            <p:ph type="body" orient="vert" idx="1"/>
          </p:nvPr>
        </p:nvSpPr>
        <p:spPr>
          <a:xfrm>
            <a:off x="609600" y="274642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" y="-3938"/>
            <a:ext cx="12192000" cy="686193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  <a:tileRect/>
          </a:gradFill>
          <a:ln w="9525">
            <a:noFill/>
            <a:miter lim="800000"/>
          </a:ln>
        </p:spPr>
        <p:txBody>
          <a:bodyPr vert="horz" wrap="square" lIns="91440" tIns="45720" rIns="91440" bIns="45720" anchor="t"/>
          <a:lstStyle/>
          <a:p>
            <a:endParaRPr lang="en-IN"/>
          </a:p>
        </p:txBody>
      </p:sp>
      <p:sp>
        <p:nvSpPr>
          <p:cNvPr id="22" name="Freeform: Shape 21"/>
          <p:cNvSpPr/>
          <p:nvPr userDrawn="1"/>
        </p:nvSpPr>
        <p:spPr bwMode="auto">
          <a:xfrm>
            <a:off x="8677112" y="-3939"/>
            <a:ext cx="3514887" cy="3346940"/>
          </a:xfrm>
          <a:custGeom>
            <a:avLst/>
            <a:gdLst/>
            <a:ahLst/>
            <a:cxnLst/>
            <a:rect l="l" t="t" r="r" b="b"/>
            <a:pathLst>
              <a:path w="3513972" h="3346940">
                <a:moveTo>
                  <a:pt x="2913417" y="0"/>
                </a:moveTo>
                <a:lnTo>
                  <a:pt x="3513972" y="0"/>
                </a:lnTo>
                <a:lnTo>
                  <a:pt x="3513972" y="279302"/>
                </a:lnTo>
                <a:lnTo>
                  <a:pt x="540890" y="3246877"/>
                </a:lnTo>
                <a:lnTo>
                  <a:pt x="535325" y="3253409"/>
                </a:lnTo>
                <a:cubicBezTo>
                  <a:pt x="410415" y="3378118"/>
                  <a:pt x="214129" y="3378118"/>
                  <a:pt x="89220" y="3253409"/>
                </a:cubicBezTo>
                <a:cubicBezTo>
                  <a:pt x="-14871" y="3149484"/>
                  <a:pt x="-27882" y="2981906"/>
                  <a:pt x="50186" y="2862068"/>
                </a:cubicBezTo>
                <a:lnTo>
                  <a:pt x="88831" y="2814436"/>
                </a:lnTo>
                <a:lnTo>
                  <a:pt x="88383" y="2813995"/>
                </a:lnTo>
                <a:lnTo>
                  <a:pt x="2913417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13" name="Freeform 10"/>
          <p:cNvSpPr/>
          <p:nvPr userDrawn="1"/>
        </p:nvSpPr>
        <p:spPr bwMode="auto">
          <a:xfrm>
            <a:off x="2494662" y="-3938"/>
            <a:ext cx="9470967" cy="6858905"/>
          </a:xfrm>
          <a:custGeom>
            <a:avLst/>
            <a:gdLst/>
            <a:ahLst/>
            <a:cxnLst/>
            <a:rect l="l" t="t" r="r" b="b"/>
            <a:pathLst>
              <a:path w="8552" h="6195">
                <a:moveTo>
                  <a:pt x="6204" y="0"/>
                </a:moveTo>
                <a:lnTo>
                  <a:pt x="0" y="6195"/>
                </a:lnTo>
                <a:lnTo>
                  <a:pt x="2348" y="6195"/>
                </a:lnTo>
                <a:lnTo>
                  <a:pt x="8552" y="0"/>
                </a:lnTo>
                <a:lnTo>
                  <a:pt x="6204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/>
          <a:lstStyle/>
          <a:p>
            <a:endParaRPr lang="en-IN"/>
          </a:p>
        </p:txBody>
      </p:sp>
      <p:sp>
        <p:nvSpPr>
          <p:cNvPr id="25" name="Freeform: Shape 24"/>
          <p:cNvSpPr/>
          <p:nvPr userDrawn="1"/>
        </p:nvSpPr>
        <p:spPr bwMode="auto">
          <a:xfrm>
            <a:off x="4454628" y="-3938"/>
            <a:ext cx="5566421" cy="4868421"/>
          </a:xfrm>
          <a:custGeom>
            <a:avLst/>
            <a:gdLst/>
            <a:ahLst/>
            <a:cxnLst/>
            <a:rect l="l" t="t" r="r" b="b"/>
            <a:pathLst>
              <a:path w="5564971" h="4868421">
                <a:moveTo>
                  <a:pt x="4191644" y="0"/>
                </a:moveTo>
                <a:lnTo>
                  <a:pt x="5564971" y="0"/>
                </a:lnTo>
                <a:lnTo>
                  <a:pt x="832293" y="4726053"/>
                </a:lnTo>
                <a:lnTo>
                  <a:pt x="832223" y="4725984"/>
                </a:lnTo>
                <a:lnTo>
                  <a:pt x="755896" y="4788243"/>
                </a:lnTo>
                <a:cubicBezTo>
                  <a:pt x="566667" y="4912966"/>
                  <a:pt x="309158" y="4892178"/>
                  <a:pt x="142689" y="4725881"/>
                </a:cubicBezTo>
                <a:cubicBezTo>
                  <a:pt x="-23781" y="4559584"/>
                  <a:pt x="-44590" y="4302343"/>
                  <a:pt x="80263" y="4117289"/>
                </a:cubicBezTo>
                <a:lnTo>
                  <a:pt x="142600" y="4042981"/>
                </a:lnTo>
                <a:lnTo>
                  <a:pt x="142318" y="4042702"/>
                </a:lnTo>
                <a:lnTo>
                  <a:pt x="4191644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3" name="Freeform: Shape 22"/>
          <p:cNvSpPr/>
          <p:nvPr userDrawn="1"/>
        </p:nvSpPr>
        <p:spPr bwMode="auto">
          <a:xfrm>
            <a:off x="1" y="1038973"/>
            <a:ext cx="5852549" cy="5819568"/>
          </a:xfrm>
          <a:custGeom>
            <a:avLst/>
            <a:gdLst/>
            <a:ahLst/>
            <a:cxnLst/>
            <a:rect l="l" t="t" r="r" b="b"/>
            <a:pathLst>
              <a:path w="5851025" h="5819568">
                <a:moveTo>
                  <a:pt x="4757495" y="0"/>
                </a:moveTo>
                <a:cubicBezTo>
                  <a:pt x="5036267" y="0"/>
                  <a:pt x="5315783" y="105385"/>
                  <a:pt x="5529880" y="316157"/>
                </a:cubicBezTo>
                <a:cubicBezTo>
                  <a:pt x="5958074" y="743636"/>
                  <a:pt x="5958074" y="1432354"/>
                  <a:pt x="5529880" y="1853896"/>
                </a:cubicBezTo>
                <a:lnTo>
                  <a:pt x="5529675" y="1854082"/>
                </a:lnTo>
                <a:lnTo>
                  <a:pt x="5529737" y="1854144"/>
                </a:lnTo>
                <a:lnTo>
                  <a:pt x="1564312" y="5819568"/>
                </a:lnTo>
                <a:lnTo>
                  <a:pt x="0" y="5819568"/>
                </a:lnTo>
                <a:lnTo>
                  <a:pt x="0" y="4299415"/>
                </a:lnTo>
                <a:lnTo>
                  <a:pt x="3986608" y="319427"/>
                </a:lnTo>
                <a:lnTo>
                  <a:pt x="3989570" y="316157"/>
                </a:lnTo>
                <a:cubicBezTo>
                  <a:pt x="4200694" y="105385"/>
                  <a:pt x="4478723" y="0"/>
                  <a:pt x="4757495" y="0"/>
                </a:cubicBez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4" name="Freeform: Shape 23"/>
          <p:cNvSpPr/>
          <p:nvPr userDrawn="1"/>
        </p:nvSpPr>
        <p:spPr bwMode="auto">
          <a:xfrm>
            <a:off x="268909" y="-3938"/>
            <a:ext cx="3978029" cy="3698123"/>
          </a:xfrm>
          <a:custGeom>
            <a:avLst/>
            <a:gdLst/>
            <a:ahLst/>
            <a:cxnLst/>
            <a:rect l="l" t="t" r="r" b="b"/>
            <a:pathLst>
              <a:path w="3976993" h="3698123">
                <a:moveTo>
                  <a:pt x="3441572" y="0"/>
                </a:moveTo>
                <a:lnTo>
                  <a:pt x="3976993" y="0"/>
                </a:lnTo>
                <a:lnTo>
                  <a:pt x="319573" y="3645276"/>
                </a:lnTo>
                <a:lnTo>
                  <a:pt x="319362" y="3645060"/>
                </a:lnTo>
                <a:lnTo>
                  <a:pt x="258903" y="3684768"/>
                </a:lnTo>
                <a:cubicBezTo>
                  <a:pt x="191945" y="3711479"/>
                  <a:pt x="111596" y="3698124"/>
                  <a:pt x="58030" y="3644702"/>
                </a:cubicBezTo>
                <a:cubicBezTo>
                  <a:pt x="-19343" y="3573472"/>
                  <a:pt x="-19343" y="3454756"/>
                  <a:pt x="58030" y="3377591"/>
                </a:cubicBezTo>
                <a:lnTo>
                  <a:pt x="62516" y="3374645"/>
                </a:lnTo>
                <a:lnTo>
                  <a:pt x="3441572" y="0"/>
                </a:ln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1" name="Freeform: Shape 20"/>
          <p:cNvSpPr/>
          <p:nvPr userDrawn="1"/>
        </p:nvSpPr>
        <p:spPr bwMode="auto">
          <a:xfrm>
            <a:off x="6416258" y="3587390"/>
            <a:ext cx="3539446" cy="3270611"/>
          </a:xfrm>
          <a:custGeom>
            <a:avLst/>
            <a:gdLst/>
            <a:ahLst/>
            <a:cxnLst/>
            <a:rect l="l" t="t" r="r" b="b"/>
            <a:pathLst>
              <a:path w="3538524" h="3270611">
                <a:moveTo>
                  <a:pt x="3353276" y="0"/>
                </a:moveTo>
                <a:cubicBezTo>
                  <a:pt x="3401634" y="0"/>
                  <a:pt x="3449248" y="17807"/>
                  <a:pt x="3484959" y="53422"/>
                </a:cubicBezTo>
                <a:cubicBezTo>
                  <a:pt x="3556380" y="130587"/>
                  <a:pt x="3556380" y="249303"/>
                  <a:pt x="3484959" y="320533"/>
                </a:cubicBezTo>
                <a:lnTo>
                  <a:pt x="3483252" y="321652"/>
                </a:lnTo>
                <a:lnTo>
                  <a:pt x="3484624" y="323024"/>
                </a:lnTo>
                <a:lnTo>
                  <a:pt x="532589" y="3270611"/>
                </a:lnTo>
                <a:lnTo>
                  <a:pt x="0" y="3270611"/>
                </a:lnTo>
                <a:lnTo>
                  <a:pt x="3215550" y="53949"/>
                </a:lnTo>
                <a:lnTo>
                  <a:pt x="3216318" y="54717"/>
                </a:lnTo>
                <a:lnTo>
                  <a:pt x="3217128" y="53422"/>
                </a:lnTo>
                <a:cubicBezTo>
                  <a:pt x="3255815" y="17807"/>
                  <a:pt x="3304917" y="0"/>
                  <a:pt x="3353276" y="0"/>
                </a:cubicBezTo>
                <a:close/>
              </a:path>
            </a:pathLst>
          </a:custGeom>
          <a:solidFill>
            <a:schemeClr val="bg1">
              <a:alpha val="1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7920121" y="-3938"/>
            <a:ext cx="3073698" cy="307289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-17633" y="3029744"/>
            <a:ext cx="1737841" cy="17373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 noEditPoints="1"/>
          </p:cNvSpPr>
          <p:nvPr>
            <p:ph type="ctrTitle"/>
          </p:nvPr>
        </p:nvSpPr>
        <p:spPr>
          <a:xfrm>
            <a:off x="591707" y="3174422"/>
            <a:ext cx="5360240" cy="2502827"/>
          </a:xfrm>
        </p:spPr>
        <p:txBody>
          <a:bodyPr lIns="0" rIns="0" anchor="b">
            <a:noAutofit/>
          </a:bodyPr>
          <a:lstStyle>
            <a:lvl1pPr algn="l">
              <a:lnSpc>
                <a:spcPct val="80000"/>
              </a:lnSpc>
              <a:defRPr lang="en-US" sz="6600" b="1" kern="12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EditPoints="1"/>
          </p:cNvSpPr>
          <p:nvPr>
            <p:ph type="subTitle" idx="1"/>
          </p:nvPr>
        </p:nvSpPr>
        <p:spPr>
          <a:xfrm>
            <a:off x="591706" y="5682374"/>
            <a:ext cx="5360240" cy="554938"/>
          </a:xfrm>
        </p:spPr>
        <p:txBody>
          <a:bodyPr lIns="0" rIns="0">
            <a:normAutofit/>
          </a:bodyPr>
          <a:lstStyle>
            <a:lvl1pPr marL="0" indent="0" algn="l">
              <a:buNone/>
              <a:defRPr lang="en-US" sz="2400" kern="12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0" y="274640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67420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0" y="970942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9" name="Rectangle 8"/>
          <p:cNvSpPr/>
          <p:nvPr userDrawn="1"/>
        </p:nvSpPr>
        <p:spPr>
          <a:xfrm>
            <a:off x="1" y="3573016"/>
            <a:ext cx="12192000" cy="32849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0" y="735872"/>
            <a:ext cx="10972801" cy="711081"/>
          </a:xfrm>
        </p:spPr>
        <p:txBody>
          <a:bodyPr lIns="0" rIns="0"/>
          <a:lstStyle>
            <a:lvl1pPr algn="ctr"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0" y="1432174"/>
            <a:ext cx="10972482" cy="412651"/>
          </a:xfrm>
        </p:spPr>
        <p:txBody>
          <a:bodyPr lIns="0" rIns="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9" name="Rectangle 8"/>
          <p:cNvSpPr/>
          <p:nvPr userDrawn="1"/>
        </p:nvSpPr>
        <p:spPr>
          <a:xfrm>
            <a:off x="1" y="3573016"/>
            <a:ext cx="12192000" cy="32849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0" y="274640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67420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0" y="970942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sz="quarter" idx="14"/>
          </p:nvPr>
        </p:nvSpPr>
        <p:spPr>
          <a:xfrm>
            <a:off x="9082949" y="1700214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  <p:sp>
        <p:nvSpPr>
          <p:cNvPr id="20" name="Picture Placeholder 2"/>
          <p:cNvSpPr>
            <a:spLocks noGrp="1" noEditPoints="1"/>
          </p:cNvSpPr>
          <p:nvPr>
            <p:ph type="pic" sz="quarter" idx="15"/>
          </p:nvPr>
        </p:nvSpPr>
        <p:spPr>
          <a:xfrm>
            <a:off x="6446682" y="1700214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  <p:sp>
        <p:nvSpPr>
          <p:cNvPr id="21" name="Picture Placeholder 2"/>
          <p:cNvSpPr>
            <a:spLocks noGrp="1" noEditPoints="1"/>
          </p:cNvSpPr>
          <p:nvPr>
            <p:ph type="pic" sz="quarter" idx="16"/>
          </p:nvPr>
        </p:nvSpPr>
        <p:spPr>
          <a:xfrm>
            <a:off x="3810415" y="1700214"/>
            <a:ext cx="2499292" cy="172878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eatur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0" y="274640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67420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0" y="970942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" name="Picture Placeholder 2"/>
          <p:cNvSpPr>
            <a:spLocks noGrp="1" noEditPoints="1"/>
          </p:cNvSpPr>
          <p:nvPr userDrawn="1">
            <p:ph type="pic" sz="quarter" idx="14"/>
          </p:nvPr>
        </p:nvSpPr>
        <p:spPr>
          <a:xfrm>
            <a:off x="598468" y="1701356"/>
            <a:ext cx="2484203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7" name="Picture Placeholder 2"/>
          <p:cNvSpPr>
            <a:spLocks noGrp="1" noEditPoints="1"/>
          </p:cNvSpPr>
          <p:nvPr userDrawn="1">
            <p:ph type="pic" sz="quarter" idx="15"/>
          </p:nvPr>
        </p:nvSpPr>
        <p:spPr>
          <a:xfrm>
            <a:off x="3429850" y="1701356"/>
            <a:ext cx="2485635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4" name="Picture Placeholder 2"/>
          <p:cNvSpPr>
            <a:spLocks noGrp="1" noEditPoints="1"/>
          </p:cNvSpPr>
          <p:nvPr>
            <p:ph type="pic" sz="quarter" idx="16"/>
          </p:nvPr>
        </p:nvSpPr>
        <p:spPr>
          <a:xfrm>
            <a:off x="6241516" y="1701356"/>
            <a:ext cx="2511442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5" name="Picture Placeholder 2"/>
          <p:cNvSpPr>
            <a:spLocks noGrp="1" noEditPoints="1"/>
          </p:cNvSpPr>
          <p:nvPr>
            <p:ph type="pic" sz="quarter" idx="17"/>
          </p:nvPr>
        </p:nvSpPr>
        <p:spPr>
          <a:xfrm>
            <a:off x="9064475" y="1701356"/>
            <a:ext cx="2511442" cy="187166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 noEditPoints="1"/>
          </p:cNvSpPr>
          <p:nvPr>
            <p:ph type="title"/>
          </p:nvPr>
        </p:nvSpPr>
        <p:spPr>
          <a:xfrm>
            <a:off x="609600" y="274640"/>
            <a:ext cx="10972801" cy="711081"/>
          </a:xfrm>
        </p:spPr>
        <p:txBody>
          <a:bodyPr lIns="0" rIns="0"/>
          <a:lstStyle>
            <a:lvl1pPr>
              <a:defRPr b="1">
                <a:solidFill>
                  <a:schemeClr val="accent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67420"/>
            <a:ext cx="333859" cy="733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9"/>
          <p:cNvSpPr>
            <a:spLocks noGrp="1" noEditPoints="1"/>
          </p:cNvSpPr>
          <p:nvPr>
            <p:ph type="body" sz="quarter" idx="13"/>
          </p:nvPr>
        </p:nvSpPr>
        <p:spPr>
          <a:xfrm>
            <a:off x="609760" y="970942"/>
            <a:ext cx="10972482" cy="412651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609494" indent="0">
              <a:buFontTx/>
              <a:buNone/>
            </a:lvl2pPr>
            <a:lvl3pPr marL="1218986" indent="0">
              <a:buFontTx/>
              <a:buNone/>
            </a:lvl3pPr>
            <a:lvl4pPr marL="1828480" indent="0">
              <a:buFontTx/>
              <a:buNone/>
            </a:lvl4pPr>
            <a:lvl5pPr marL="2437973" indent="0">
              <a:buFontTx/>
              <a:buNone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2" name="Oval 1"/>
          <p:cNvSpPr/>
          <p:nvPr userDrawn="1"/>
        </p:nvSpPr>
        <p:spPr>
          <a:xfrm>
            <a:off x="5181260" y="1988840"/>
            <a:ext cx="1829478" cy="182900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Oval 18"/>
          <p:cNvSpPr/>
          <p:nvPr userDrawn="1"/>
        </p:nvSpPr>
        <p:spPr>
          <a:xfrm>
            <a:off x="5181260" y="3991643"/>
            <a:ext cx="1829478" cy="182900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Picture Placeholder 19"/>
          <p:cNvSpPr>
            <a:spLocks noGrp="1" noEditPoints="1"/>
          </p:cNvSpPr>
          <p:nvPr>
            <p:ph type="pic" sz="quarter" idx="14"/>
          </p:nvPr>
        </p:nvSpPr>
        <p:spPr>
          <a:xfrm>
            <a:off x="4252596" y="2290996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2" name="Picture Placeholder 19"/>
          <p:cNvSpPr>
            <a:spLocks noGrp="1" noEditPoints="1"/>
          </p:cNvSpPr>
          <p:nvPr>
            <p:ph type="pic" sz="quarter" idx="15"/>
          </p:nvPr>
        </p:nvSpPr>
        <p:spPr>
          <a:xfrm>
            <a:off x="6694591" y="2290996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3" name="Picture Placeholder 19"/>
          <p:cNvSpPr>
            <a:spLocks noGrp="1" noEditPoints="1"/>
          </p:cNvSpPr>
          <p:nvPr>
            <p:ph type="pic" sz="quarter" idx="16"/>
          </p:nvPr>
        </p:nvSpPr>
        <p:spPr>
          <a:xfrm>
            <a:off x="4252596" y="4306228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4" name="Picture Placeholder 19"/>
          <p:cNvSpPr>
            <a:spLocks noGrp="1" noEditPoints="1"/>
          </p:cNvSpPr>
          <p:nvPr>
            <p:ph type="pic" sz="quarter" idx="17"/>
          </p:nvPr>
        </p:nvSpPr>
        <p:spPr>
          <a:xfrm>
            <a:off x="6694591" y="4306228"/>
            <a:ext cx="1224282" cy="122555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2B7EFCFA-581E-44A8-86FC-2CADA2BDF5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9037FCAF-F5BE-4770-A5FC-960F8050BD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BE7A7D-30A7-4218-B30B-554198EAD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087487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 noEditPoints="1"/>
          </p:cNvSpPr>
          <p:nvPr userDrawn="1"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3" name="Text Placeholder 12"/>
          <p:cNvSpPr>
            <a:spLocks noGrp="1" noEditPoints="1"/>
          </p:cNvSpPr>
          <p:nvPr userDrawn="1">
            <p:ph type="body" sz="quarter" idx="14"/>
          </p:nvPr>
        </p:nvSpPr>
        <p:spPr>
          <a:xfrm>
            <a:off x="5087675" y="1100700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37" name="Picture Placeholder 36"/>
          <p:cNvSpPr>
            <a:spLocks noGrp="1" noEditPoints="1"/>
          </p:cNvSpPr>
          <p:nvPr>
            <p:ph type="pic" sz="quarter" idx="15"/>
          </p:nvPr>
        </p:nvSpPr>
        <p:spPr>
          <a:xfrm>
            <a:off x="5087625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/>
          </a:p>
        </p:txBody>
      </p:sp>
      <p:sp>
        <p:nvSpPr>
          <p:cNvPr id="38" name="Picture Placeholder 37"/>
          <p:cNvSpPr>
            <a:spLocks noGrp="1" noEditPoints="1"/>
          </p:cNvSpPr>
          <p:nvPr>
            <p:ph type="pic" sz="quarter" idx="16"/>
          </p:nvPr>
        </p:nvSpPr>
        <p:spPr>
          <a:xfrm>
            <a:off x="7270660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  <p:sp>
        <p:nvSpPr>
          <p:cNvPr id="39" name="Picture Placeholder 38"/>
          <p:cNvSpPr>
            <a:spLocks noGrp="1" noEditPoints="1"/>
          </p:cNvSpPr>
          <p:nvPr>
            <p:ph type="pic" sz="quarter" idx="17"/>
          </p:nvPr>
        </p:nvSpPr>
        <p:spPr>
          <a:xfrm>
            <a:off x="9453694" y="3573016"/>
            <a:ext cx="2135339" cy="1872206"/>
          </a:xfrm>
          <a:custGeom>
            <a:avLst/>
            <a:gdLst/>
            <a:ahLst/>
            <a:cxnLst/>
            <a:rect l="l" t="t" r="r" b="b"/>
            <a:pathLst>
              <a:path w="2134783" h="1872206">
                <a:moveTo>
                  <a:pt x="0" y="0"/>
                </a:moveTo>
                <a:lnTo>
                  <a:pt x="2134783" y="0"/>
                </a:lnTo>
                <a:lnTo>
                  <a:pt x="2134783" y="1872206"/>
                </a:lnTo>
                <a:lnTo>
                  <a:pt x="0" y="187220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 noEditPoints="1"/>
          </p:cNvSpPr>
          <p:nvPr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11" name="Text Placeholder 12"/>
          <p:cNvSpPr>
            <a:spLocks noGrp="1" noEditPoints="1"/>
          </p:cNvSpPr>
          <p:nvPr>
            <p:ph type="body" sz="quarter" idx="14"/>
          </p:nvPr>
        </p:nvSpPr>
        <p:spPr>
          <a:xfrm>
            <a:off x="5087675" y="1100700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sz="quarter" idx="15"/>
          </p:nvPr>
        </p:nvSpPr>
        <p:spPr>
          <a:xfrm>
            <a:off x="5072942" y="1926396"/>
            <a:ext cx="6502131" cy="330280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  <p:sp>
        <p:nvSpPr>
          <p:cNvPr id="16" name="Text Placeholder 12"/>
          <p:cNvSpPr>
            <a:spLocks noGrp="1" noEditPoints="1"/>
          </p:cNvSpPr>
          <p:nvPr>
            <p:ph type="body" sz="quarter" idx="13"/>
          </p:nvPr>
        </p:nvSpPr>
        <p:spPr>
          <a:xfrm>
            <a:off x="5087675" y="551082"/>
            <a:ext cx="6500918" cy="605452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6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17" name="Text Placeholder 12"/>
          <p:cNvSpPr>
            <a:spLocks noGrp="1" noEditPoints="1"/>
          </p:cNvSpPr>
          <p:nvPr>
            <p:ph type="body" sz="quarter" idx="14"/>
          </p:nvPr>
        </p:nvSpPr>
        <p:spPr>
          <a:xfrm>
            <a:off x="5087675" y="1100700"/>
            <a:ext cx="6500918" cy="515421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20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-righ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/>
          <p:cNvSpPr>
            <a:spLocks noGrp="1" noEditPoints="1"/>
          </p:cNvSpPr>
          <p:nvPr>
            <p:ph type="pic" sz="quarter" idx="13"/>
          </p:nvPr>
        </p:nvSpPr>
        <p:spPr>
          <a:xfrm>
            <a:off x="617699" y="638630"/>
            <a:ext cx="4984460" cy="228631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lvl="0"/>
            <a:endParaRPr lang="en-IN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Picture Placeholder 32"/>
          <p:cNvSpPr>
            <a:spLocks noGrp="1" noEditPoints="1"/>
          </p:cNvSpPr>
          <p:nvPr>
            <p:ph type="pic" sz="quarter" idx="13"/>
          </p:nvPr>
        </p:nvSpPr>
        <p:spPr>
          <a:xfrm>
            <a:off x="996359" y="992224"/>
            <a:ext cx="2976195" cy="2562667"/>
          </a:xfrm>
          <a:custGeom>
            <a:avLst/>
            <a:gdLst/>
            <a:ahLst/>
            <a:cxnLst/>
            <a:rect l="l" t="t" r="r" b="b"/>
            <a:pathLst>
              <a:path w="2975420" h="2562667">
                <a:moveTo>
                  <a:pt x="0" y="0"/>
                </a:moveTo>
                <a:lnTo>
                  <a:pt x="2975420" y="0"/>
                </a:lnTo>
                <a:lnTo>
                  <a:pt x="2975420" y="2562667"/>
                </a:lnTo>
                <a:lnTo>
                  <a:pt x="0" y="256266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endParaRPr lang="en-IN"/>
          </a:p>
        </p:txBody>
      </p:sp>
      <p:sp>
        <p:nvSpPr>
          <p:cNvPr id="36" name="Picture Placeholder 35"/>
          <p:cNvSpPr>
            <a:spLocks noGrp="1" noEditPoints="1"/>
          </p:cNvSpPr>
          <p:nvPr>
            <p:ph type="pic" sz="quarter" idx="14"/>
          </p:nvPr>
        </p:nvSpPr>
        <p:spPr>
          <a:xfrm>
            <a:off x="7088724" y="3943004"/>
            <a:ext cx="4104365" cy="1912851"/>
          </a:xfrm>
          <a:custGeom>
            <a:avLst/>
            <a:gdLst/>
            <a:ahLst/>
            <a:cxnLst/>
            <a:rect l="l" t="t" r="r" b="b"/>
            <a:pathLst>
              <a:path w="4103296" h="1912851">
                <a:moveTo>
                  <a:pt x="0" y="0"/>
                </a:moveTo>
                <a:lnTo>
                  <a:pt x="4103296" y="0"/>
                </a:lnTo>
                <a:lnTo>
                  <a:pt x="4103296" y="1912851"/>
                </a:lnTo>
                <a:lnTo>
                  <a:pt x="0" y="19128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endParaRPr lang="en-IN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Date Placeholder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3" name="Footer Placeholder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 noEditPoints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 noEditPoints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 noEditPoints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 noEditPoints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8" name="Footer Placeholder 7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D33CEA7-7879-469B-81DA-290F0C6C8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537A9530-7BC3-41DB-B17B-E002BD91A6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E5ED14B-150A-4B17-A66F-36940BAC2C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508560F-52BB-46E0-A555-55CEBE27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A88F6B0C-DD19-4987-AC2C-212805D44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74795466-2B7E-4886-BA80-A90C3D2FE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94410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/>
          <p:cNvSpPr/>
          <p:nvPr userDrawn="1"/>
        </p:nvSpPr>
        <p:spPr bwMode="auto">
          <a:xfrm>
            <a:off x="0" y="-3938"/>
            <a:ext cx="12191999" cy="6862478"/>
          </a:xfrm>
          <a:custGeom>
            <a:avLst/>
            <a:gdLst/>
            <a:ahLst/>
            <a:cxnLst/>
            <a:rect l="l" t="t" r="r" b="b"/>
            <a:pathLst>
              <a:path w="12188824" h="6862478">
                <a:moveTo>
                  <a:pt x="9767862" y="3591325"/>
                </a:moveTo>
                <a:cubicBezTo>
                  <a:pt x="9816221" y="3591325"/>
                  <a:pt x="9863835" y="3609133"/>
                  <a:pt x="9899546" y="3644748"/>
                </a:cubicBezTo>
                <a:cubicBezTo>
                  <a:pt x="9970967" y="3721913"/>
                  <a:pt x="9970967" y="3840629"/>
                  <a:pt x="9899546" y="3911859"/>
                </a:cubicBezTo>
                <a:lnTo>
                  <a:pt x="9897839" y="3912978"/>
                </a:lnTo>
                <a:lnTo>
                  <a:pt x="9899211" y="3914350"/>
                </a:lnTo>
                <a:lnTo>
                  <a:pt x="6947176" y="6861937"/>
                </a:lnTo>
                <a:lnTo>
                  <a:pt x="6414587" y="6861937"/>
                </a:lnTo>
                <a:lnTo>
                  <a:pt x="9630137" y="3645275"/>
                </a:lnTo>
                <a:lnTo>
                  <a:pt x="9630905" y="3646043"/>
                </a:lnTo>
                <a:lnTo>
                  <a:pt x="9631715" y="3644748"/>
                </a:lnTo>
                <a:cubicBezTo>
                  <a:pt x="9670402" y="3609133"/>
                  <a:pt x="9719504" y="3591325"/>
                  <a:pt x="9767862" y="3591325"/>
                </a:cubicBezTo>
                <a:close/>
                <a:moveTo>
                  <a:pt x="4757494" y="1042910"/>
                </a:moveTo>
                <a:cubicBezTo>
                  <a:pt x="5036266" y="1042910"/>
                  <a:pt x="5315782" y="1148296"/>
                  <a:pt x="5529879" y="1359067"/>
                </a:cubicBezTo>
                <a:cubicBezTo>
                  <a:pt x="5958073" y="1786547"/>
                  <a:pt x="5958073" y="2475264"/>
                  <a:pt x="5529879" y="2896807"/>
                </a:cubicBezTo>
                <a:lnTo>
                  <a:pt x="5529674" y="2896992"/>
                </a:lnTo>
                <a:lnTo>
                  <a:pt x="5529736" y="2897055"/>
                </a:lnTo>
                <a:lnTo>
                  <a:pt x="1564312" y="6862478"/>
                </a:lnTo>
                <a:lnTo>
                  <a:pt x="0" y="6862478"/>
                </a:lnTo>
                <a:lnTo>
                  <a:pt x="0" y="5342325"/>
                </a:lnTo>
                <a:lnTo>
                  <a:pt x="3988160" y="1360788"/>
                </a:lnTo>
                <a:lnTo>
                  <a:pt x="3989570" y="1359067"/>
                </a:lnTo>
                <a:cubicBezTo>
                  <a:pt x="4200693" y="1148296"/>
                  <a:pt x="4478721" y="1042910"/>
                  <a:pt x="4757494" y="1042910"/>
                </a:cubicBezTo>
                <a:close/>
                <a:moveTo>
                  <a:pt x="3710411" y="0"/>
                </a:moveTo>
                <a:lnTo>
                  <a:pt x="4245830" y="0"/>
                </a:lnTo>
                <a:lnTo>
                  <a:pt x="588411" y="3645275"/>
                </a:lnTo>
                <a:lnTo>
                  <a:pt x="588200" y="3645059"/>
                </a:lnTo>
                <a:lnTo>
                  <a:pt x="527740" y="3684767"/>
                </a:lnTo>
                <a:cubicBezTo>
                  <a:pt x="460783" y="3711478"/>
                  <a:pt x="380433" y="3698123"/>
                  <a:pt x="326868" y="3644701"/>
                </a:cubicBezTo>
                <a:cubicBezTo>
                  <a:pt x="249494" y="3573471"/>
                  <a:pt x="249494" y="3454755"/>
                  <a:pt x="326868" y="3377590"/>
                </a:cubicBezTo>
                <a:lnTo>
                  <a:pt x="331357" y="3374641"/>
                </a:lnTo>
                <a:lnTo>
                  <a:pt x="3710411" y="0"/>
                </a:lnTo>
                <a:close/>
                <a:moveTo>
                  <a:pt x="9362881" y="0"/>
                </a:moveTo>
                <a:lnTo>
                  <a:pt x="11962512" y="0"/>
                </a:lnTo>
                <a:lnTo>
                  <a:pt x="11962512" y="0"/>
                </a:lnTo>
                <a:lnTo>
                  <a:pt x="12188824" y="0"/>
                </a:lnTo>
                <a:lnTo>
                  <a:pt x="12188824" y="279302"/>
                </a:lnTo>
                <a:lnTo>
                  <a:pt x="9215738" y="3246880"/>
                </a:lnTo>
                <a:lnTo>
                  <a:pt x="9210177" y="3253408"/>
                </a:lnTo>
                <a:cubicBezTo>
                  <a:pt x="9085267" y="3378117"/>
                  <a:pt x="8888981" y="3378117"/>
                  <a:pt x="8764072" y="3253408"/>
                </a:cubicBezTo>
                <a:lnTo>
                  <a:pt x="8737355" y="3220478"/>
                </a:lnTo>
                <a:lnTo>
                  <a:pt x="5093641" y="6858904"/>
                </a:lnTo>
                <a:lnTo>
                  <a:pt x="2494012" y="6858904"/>
                </a:lnTo>
                <a:lnTo>
                  <a:pt x="9362881" y="0"/>
                </a:lnTo>
                <a:close/>
              </a:path>
            </a:pathLst>
          </a:custGeom>
          <a:solidFill>
            <a:schemeClr val="accent1">
              <a:alpha val="2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anchor="t">
            <a:noAutofit/>
          </a:bodyPr>
          <a:lstStyle/>
          <a:p>
            <a:endParaRPr lang="en-IN"/>
          </a:p>
        </p:txBody>
      </p:sp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4" name="Footer Placeholder 3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 noEditPoints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 noEditPoints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EditPoints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pPr lvl="0"/>
            <a:endParaRPr lang="en-US"/>
          </a:p>
        </p:txBody>
      </p:sp>
      <p:sp>
        <p:nvSpPr>
          <p:cNvPr id="4" name="Text Placeholder 3"/>
          <p:cNvSpPr>
            <a:spLocks noGrp="1" noEditPoints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 noEditPoints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 noEditPoints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 noEditPoints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1E8EF5F-90EA-486D-BA9D-2DAE54336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BC36EF9-240D-4C40-9AF7-22DF68C08E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655EE825-89B7-4F19-8286-1D44023398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289059B3-85DD-413B-8036-2264CEF11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9002BEAE-BF81-4554-80FB-EE2D95E9F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A998C92D-FB97-4585-846A-BEB3422FA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477022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A74CC0F-D24F-4EF9-84BF-EF94FAAD1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B91ABB7E-F23D-4EDE-B3A1-7FE59F7410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C9729D1-7688-4406-9087-54731B54A7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D9794-A4CC-42D0-9A65-24C6B9EF4076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76A46E2-5232-47BE-85B9-D572655324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B43F5F8-DE33-4585-8975-105A42188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8DF1E-33BB-4377-9A26-35481BA06C7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51">
            <a:extLst>
              <a:ext uri="{FF2B5EF4-FFF2-40B4-BE49-F238E27FC236}">
                <a16:creationId xmlns="" xmlns:a16="http://schemas.microsoft.com/office/drawing/2014/main" id="{0B07BB28-E25D-489C-A42D-0E0E8E91CA9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507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687438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57" r:id="rId16"/>
  </p:sldLayoutIdLst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latinLnBrk="1"/>
            <a:fld id="{9EC18FCA-46E9-49E0-AC44-4023BBB0FB1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23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latinLnBrk="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1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latinLnBrk="1"/>
            <a:fld id="{4DF95A49-0EF0-4185-B1C7-30927975D10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70" latinLnBrk="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140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 noEditPoints="1"/>
          </p:cNvSpPr>
          <p:nvPr>
            <p:ph type="title"/>
          </p:nvPr>
        </p:nvSpPr>
        <p:spPr>
          <a:xfrm>
            <a:off x="609601" y="274642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609601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2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3"/>
          </p:nvPr>
        </p:nvSpPr>
        <p:spPr>
          <a:xfrm>
            <a:off x="4165602" y="6356354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4"/>
          </p:nvPr>
        </p:nvSpPr>
        <p:spPr>
          <a:xfrm>
            <a:off x="8737602" y="6356354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 noEditPoints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 noEditPoints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 noEditPoints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4/23/2021</a:t>
            </a:fld>
            <a:endParaRPr lang="en-US"/>
          </a:p>
        </p:txBody>
      </p:sp>
      <p:sp>
        <p:nvSpPr>
          <p:cNvPr id="5" name="Footer Placeholder 4"/>
          <p:cNvSpPr>
            <a:spLocks noGrp="1" noEditPoints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 noEditPoints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microsoft.com/office/2007/relationships/diagramDrawing" Target="../diagrams/drawing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png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3.gif"/><Relationship Id="rId7" Type="http://schemas.openxmlformats.org/officeDocument/2006/relationships/diagramColors" Target="../diagrams/colors9.xm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9.xml"/><Relationship Id="rId11" Type="http://schemas.microsoft.com/office/2007/relationships/diagramDrawing" Target="../diagrams/drawing9.xml"/><Relationship Id="rId5" Type="http://schemas.openxmlformats.org/officeDocument/2006/relationships/diagramLayout" Target="../diagrams/layout9.xml"/><Relationship Id="rId10" Type="http://schemas.openxmlformats.org/officeDocument/2006/relationships/image" Target="../media/image46.png"/><Relationship Id="rId4" Type="http://schemas.openxmlformats.org/officeDocument/2006/relationships/diagramData" Target="../diagrams/data9.xml"/><Relationship Id="rId9" Type="http://schemas.openxmlformats.org/officeDocument/2006/relationships/image" Target="../media/image4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6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6.xml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image" Target="../media/image67.png"/><Relationship Id="rId7" Type="http://schemas.openxmlformats.org/officeDocument/2006/relationships/diagramColors" Target="../diagrams/colors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4.jpe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ree-powerpoint-templates-design.com/" TargetMode="Externa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8001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2840183" y="1"/>
            <a:ext cx="6580909" cy="4294908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840183" y="273637"/>
            <a:ext cx="6580909" cy="40212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7200" b="1" dirty="0" smtClean="0">
                <a:ln/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Створення та адміністрування сайту</a:t>
            </a:r>
            <a:endParaRPr lang="en-US" sz="7200" b="1" dirty="0">
              <a:ln/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065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5729" y="-1261213"/>
            <a:ext cx="6268013" cy="636336"/>
          </a:xfrm>
        </p:spPr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18" y="285728"/>
            <a:ext cx="3929712" cy="2900128"/>
          </a:xfrm>
          <a:prstGeom prst="rect">
            <a:avLst/>
          </a:prstGeom>
        </p:spPr>
      </p:pic>
      <p:pic>
        <p:nvPicPr>
          <p:cNvPr id="4" name="Picture 2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942" r="6388" b="9302"/>
          <a:stretch>
            <a:fillRect/>
          </a:stretch>
        </p:blipFill>
        <p:spPr bwMode="auto">
          <a:xfrm>
            <a:off x="6785339" y="3107902"/>
            <a:ext cx="5239719" cy="36490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Объект 7"/>
          <p:cNvSpPr txBox="1">
            <a:spLocks/>
          </p:cNvSpPr>
          <p:nvPr/>
        </p:nvSpPr>
        <p:spPr>
          <a:xfrm>
            <a:off x="6858006" y="666733"/>
            <a:ext cx="3810027" cy="24765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latinLnBrk="1">
              <a:spcBef>
                <a:spcPts val="0"/>
              </a:spcBef>
              <a:buNone/>
            </a:pPr>
            <a:r>
              <a:rPr lang="uk-UA" sz="3600" dirty="0">
                <a:solidFill>
                  <a:schemeClr val="dk1"/>
                </a:solidFill>
                <a:latin typeface="Cambria" pitchFamily="18" charset="0"/>
              </a:rPr>
              <a:t>Статична </a:t>
            </a:r>
          </a:p>
          <a:p>
            <a:pPr marL="0" indent="0" algn="ctr" latinLnBrk="1">
              <a:spcBef>
                <a:spcPts val="0"/>
              </a:spcBef>
              <a:buNone/>
            </a:pPr>
            <a:r>
              <a:rPr lang="uk-UA" sz="3600" dirty="0" err="1">
                <a:solidFill>
                  <a:schemeClr val="dk1"/>
                </a:solidFill>
                <a:latin typeface="Cambria" pitchFamily="18" charset="0"/>
              </a:rPr>
              <a:t>веб-сторінка</a:t>
            </a:r>
            <a:r>
              <a:rPr lang="uk-UA" sz="3600" dirty="0">
                <a:solidFill>
                  <a:schemeClr val="dk1"/>
                </a:solidFill>
                <a:latin typeface="Cambria" pitchFamily="18" charset="0"/>
              </a:rPr>
              <a:t> </a:t>
            </a:r>
          </a:p>
          <a:p>
            <a:pPr marL="0" indent="0" algn="ctr" latinLnBrk="1">
              <a:spcBef>
                <a:spcPts val="0"/>
              </a:spcBef>
              <a:buNone/>
            </a:pPr>
            <a:r>
              <a:rPr lang="uk-UA" sz="3600" dirty="0">
                <a:solidFill>
                  <a:schemeClr val="dk1"/>
                </a:solidFill>
                <a:latin typeface="Cambria" pitchFamily="18" charset="0"/>
              </a:rPr>
              <a:t>початку ХХІ </a:t>
            </a:r>
          </a:p>
          <a:p>
            <a:pPr marL="0" indent="0" algn="ctr" latinLnBrk="1">
              <a:spcBef>
                <a:spcPts val="0"/>
              </a:spcBef>
              <a:buNone/>
            </a:pPr>
            <a:r>
              <a:rPr lang="uk-UA" sz="3600" dirty="0">
                <a:solidFill>
                  <a:schemeClr val="dk1"/>
                </a:solidFill>
                <a:latin typeface="Cambria" pitchFamily="18" charset="0"/>
              </a:rPr>
              <a:t>століття</a:t>
            </a:r>
            <a:endParaRPr lang="ru-RU" sz="3600" dirty="0">
              <a:solidFill>
                <a:schemeClr val="dk1"/>
              </a:solidFill>
              <a:latin typeface="Cambria" pitchFamily="18" charset="0"/>
            </a:endParaRPr>
          </a:p>
        </p:txBody>
      </p:sp>
      <p:sp>
        <p:nvSpPr>
          <p:cNvPr id="6" name="Стрелка влево 5"/>
          <p:cNvSpPr/>
          <p:nvPr/>
        </p:nvSpPr>
        <p:spPr>
          <a:xfrm>
            <a:off x="5524498" y="1428738"/>
            <a:ext cx="1260841" cy="762005"/>
          </a:xfrm>
          <a:prstGeom prst="lef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7" name="Объект 7"/>
          <p:cNvSpPr txBox="1">
            <a:spLocks/>
          </p:cNvSpPr>
          <p:nvPr/>
        </p:nvSpPr>
        <p:spPr>
          <a:xfrm>
            <a:off x="2923592" y="3705409"/>
            <a:ext cx="3524275" cy="180976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121920" tIns="60960" rIns="121920" bIns="60960" rtlCol="0">
            <a:normAutofit fontScale="77500" lnSpcReduction="20000"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3200"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ru-RU" sz="4267" dirty="0" err="1">
                <a:latin typeface="Cambria" pitchFamily="18" charset="0"/>
              </a:rPr>
              <a:t>Сучасний</a:t>
            </a:r>
            <a:r>
              <a:rPr lang="ru-RU" sz="4267" dirty="0">
                <a:latin typeface="Cambria" pitchFamily="18" charset="0"/>
              </a:rPr>
              <a:t> </a:t>
            </a:r>
          </a:p>
          <a:p>
            <a:pPr algn="ctr"/>
            <a:r>
              <a:rPr lang="ru-RU" sz="4267" dirty="0" err="1">
                <a:latin typeface="Cambria" pitchFamily="18" charset="0"/>
              </a:rPr>
              <a:t>адаптивний</a:t>
            </a:r>
            <a:r>
              <a:rPr lang="ru-RU" sz="4267" dirty="0">
                <a:latin typeface="Cambria" pitchFamily="18" charset="0"/>
              </a:rPr>
              <a:t> </a:t>
            </a:r>
          </a:p>
          <a:p>
            <a:pPr algn="ctr"/>
            <a:r>
              <a:rPr lang="ru-RU" sz="4267" dirty="0">
                <a:latin typeface="Cambria" pitchFamily="18" charset="0"/>
              </a:rPr>
              <a:t>сайт</a:t>
            </a:r>
          </a:p>
        </p:txBody>
      </p:sp>
      <p:sp>
        <p:nvSpPr>
          <p:cNvPr id="8" name="Стрелка влево 7"/>
          <p:cNvSpPr/>
          <p:nvPr/>
        </p:nvSpPr>
        <p:spPr>
          <a:xfrm rot="10800000">
            <a:off x="6559373" y="4210999"/>
            <a:ext cx="882777" cy="721444"/>
          </a:xfrm>
          <a:prstGeom prst="lef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121920" tIns="60960" rIns="121920" bIns="60960" rtlCol="0">
            <a:normAutofit fontScale="40000" lnSpcReduction="20000"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4267"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2" y="3650209"/>
            <a:ext cx="3648405" cy="33396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3483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3552" y="952485"/>
            <a:ext cx="10128448" cy="1035373"/>
          </a:xfrm>
        </p:spPr>
        <p:txBody>
          <a:bodyPr/>
          <a:lstStyle/>
          <a:p>
            <a:pPr algn="ctr"/>
            <a:r>
              <a:rPr lang="ru-RU" dirty="0" err="1" smtClean="0"/>
              <a:t>Способи</a:t>
            </a:r>
            <a:r>
              <a:rPr lang="ru-RU" dirty="0" smtClean="0"/>
              <a:t> </a:t>
            </a:r>
            <a:r>
              <a:rPr lang="ru-RU" dirty="0" err="1" smtClean="0"/>
              <a:t>взаємодії</a:t>
            </a:r>
            <a:r>
              <a:rPr lang="ru-RU" dirty="0" smtClean="0"/>
              <a:t> </a:t>
            </a:r>
            <a:r>
              <a:rPr lang="ru-RU" dirty="0" err="1" smtClean="0"/>
              <a:t>користувача</a:t>
            </a:r>
            <a:r>
              <a:rPr lang="ru-RU" dirty="0" smtClean="0"/>
              <a:t> </a:t>
            </a:r>
            <a:r>
              <a:rPr lang="ru-RU" dirty="0" err="1" smtClean="0"/>
              <a:t>з</a:t>
            </a:r>
            <a:r>
              <a:rPr lang="ru-RU" dirty="0" smtClean="0"/>
              <a:t> сайтом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032001" y="2000242"/>
          <a:ext cx="9969541" cy="41380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1448035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Фізичне</a:t>
            </a:r>
            <a:r>
              <a:rPr lang="ru-RU" dirty="0" smtClean="0"/>
              <a:t> </a:t>
            </a:r>
            <a:r>
              <a:rPr lang="ru-RU" dirty="0" err="1" smtClean="0"/>
              <a:t>розміщення</a:t>
            </a:r>
            <a:r>
              <a:rPr lang="ru-RU" dirty="0" smtClean="0"/>
              <a:t> </a:t>
            </a:r>
            <a:r>
              <a:rPr lang="ru-RU" dirty="0" err="1" smtClean="0"/>
              <a:t>сайтів</a:t>
            </a:r>
            <a:endParaRPr lang="ru-RU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159030" y="105835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70544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 схемою </a:t>
            </a:r>
            <a:r>
              <a:rPr lang="ru-RU" dirty="0" err="1" smtClean="0"/>
              <a:t>подання</a:t>
            </a:r>
            <a:r>
              <a:rPr lang="ru-RU" dirty="0" smtClean="0"/>
              <a:t> </a:t>
            </a:r>
            <a:r>
              <a:rPr lang="ru-RU" dirty="0" err="1" smtClean="0"/>
              <a:t>вмісту</a:t>
            </a:r>
            <a:endParaRPr lang="ru-RU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032000" y="1142984"/>
          <a:ext cx="9874291" cy="4995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373065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/>
        </p:nvGraphicFramePr>
        <p:xfrm>
          <a:off x="1" y="2"/>
          <a:ext cx="12192000" cy="64770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1513868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23968" y="34316"/>
            <a:ext cx="10128448" cy="1035373"/>
          </a:xfrm>
        </p:spPr>
        <p:txBody>
          <a:bodyPr/>
          <a:lstStyle/>
          <a:p>
            <a:r>
              <a:rPr lang="ru-RU" dirty="0" err="1" smtClean="0"/>
              <a:t>Сайти</a:t>
            </a:r>
            <a:r>
              <a:rPr lang="ru-RU" dirty="0" smtClean="0"/>
              <a:t> </a:t>
            </a:r>
            <a:r>
              <a:rPr lang="ru-RU" dirty="0" err="1" smtClean="0"/>
              <a:t>можна</a:t>
            </a:r>
            <a:r>
              <a:rPr lang="ru-RU" dirty="0" smtClean="0"/>
              <a:t> </a:t>
            </a:r>
            <a:r>
              <a:rPr lang="ru-RU" dirty="0" err="1" smtClean="0"/>
              <a:t>також</a:t>
            </a:r>
            <a:r>
              <a:rPr lang="ru-RU" dirty="0" smtClean="0"/>
              <a:t> </a:t>
            </a:r>
            <a:r>
              <a:rPr lang="ru-RU" dirty="0" err="1" smtClean="0"/>
              <a:t>поділити</a:t>
            </a:r>
            <a:r>
              <a:rPr lang="ru-RU" dirty="0" smtClean="0"/>
              <a:t> на:</a:t>
            </a:r>
            <a:endParaRPr lang="ru-RU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032000" y="1153607"/>
          <a:ext cx="9398037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55681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211" y="2"/>
            <a:ext cx="5607720" cy="3459411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31" y="0"/>
            <a:ext cx="5487307" cy="3493328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158" y="3684853"/>
            <a:ext cx="4772623" cy="3173149"/>
          </a:xfrm>
          <a:prstGeom prst="rect">
            <a:avLst/>
          </a:prstGeom>
        </p:spPr>
      </p:pic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1031600" y="3864033"/>
            <a:ext cx="6748820" cy="2360304"/>
          </a:xfrm>
        </p:spPr>
        <p:txBody>
          <a:bodyPr/>
          <a:lstStyle/>
          <a:p>
            <a:r>
              <a:rPr lang="uk-UA" sz="8000" dirty="0" smtClean="0"/>
              <a:t>Персональні сайти</a:t>
            </a:r>
            <a:endParaRPr lang="uk-UA" sz="8000" dirty="0"/>
          </a:p>
        </p:txBody>
      </p:sp>
    </p:spTree>
    <p:extLst>
      <p:ext uri="{BB962C8B-B14F-4D97-AF65-F5344CB8AC3E}">
        <p14:creationId xmlns="" xmlns:p14="http://schemas.microsoft.com/office/powerpoint/2010/main" val="28059658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1031600" y="3864033"/>
            <a:ext cx="6748820" cy="2360304"/>
          </a:xfrm>
        </p:spPr>
        <p:txBody>
          <a:bodyPr/>
          <a:lstStyle/>
          <a:p>
            <a:r>
              <a:rPr lang="uk-UA" sz="8000" dirty="0" smtClean="0"/>
              <a:t>Комерційні</a:t>
            </a:r>
            <a:br>
              <a:rPr lang="uk-UA" sz="8000" dirty="0" smtClean="0"/>
            </a:br>
            <a:r>
              <a:rPr lang="uk-UA" sz="8000" dirty="0" smtClean="0"/>
              <a:t>сайти</a:t>
            </a:r>
            <a:endParaRPr lang="uk-UA" sz="80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t="12994" r="17080" b="21656"/>
          <a:stretch/>
        </p:blipFill>
        <p:spPr>
          <a:xfrm>
            <a:off x="1" y="0"/>
            <a:ext cx="7566653" cy="3352800"/>
          </a:xfrm>
          <a:prstGeom prst="rect">
            <a:avLst/>
          </a:prstGeom>
        </p:spPr>
      </p:pic>
      <p:pic>
        <p:nvPicPr>
          <p:cNvPr id="57350" name="Picture 6" descr="Коммерческий сайт: что такое, как создать, типы коммерческих сайтов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707" y="700489"/>
            <a:ext cx="6660090" cy="31635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52" name="Picture 8" descr="Створення Інтернет-магазину під ключ в Києві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4147" y="4385403"/>
            <a:ext cx="4973053" cy="23501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0570132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Picture 4" descr="Створення лендінгу Української гендерної мережі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713"/>
            <a:ext cx="6380914" cy="43229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160421" y="4313212"/>
            <a:ext cx="7459578" cy="2360304"/>
          </a:xfrm>
        </p:spPr>
        <p:txBody>
          <a:bodyPr/>
          <a:lstStyle/>
          <a:p>
            <a:r>
              <a:rPr lang="uk-UA" sz="8000" dirty="0" smtClean="0"/>
              <a:t>Некомерційні</a:t>
            </a:r>
            <a:br>
              <a:rPr lang="uk-UA" sz="8000" dirty="0" smtClean="0"/>
            </a:br>
            <a:r>
              <a:rPr lang="uk-UA" sz="8000" dirty="0" smtClean="0"/>
              <a:t>сайти</a:t>
            </a:r>
            <a:endParaRPr lang="uk-UA" sz="8000" dirty="0"/>
          </a:p>
        </p:txBody>
      </p:sp>
      <p:pic>
        <p:nvPicPr>
          <p:cNvPr id="59398" name="Picture 6" descr="Сайт громадської ініціативи по встановленню пам'ятника засновникам Луганська козакам Вергуну і Вирвидубу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914" y="1507958"/>
            <a:ext cx="5180384" cy="313623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1988059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2" descr="6 ÑÐ¸Ð¿ÑÐ² ÑÐ°Ð¹ÑÑÐ² | ÐÐ½ÑÐ¾Ð³ÑÐ°ÑÑÐºÐ°"/>
          <p:cNvPicPr>
            <a:picLocks noChangeAspect="1" noChangeArrowheads="1"/>
          </p:cNvPicPr>
          <p:nvPr/>
        </p:nvPicPr>
        <p:blipFill>
          <a:blip r:embed="rId2"/>
          <a:srcRect b="56594"/>
          <a:stretch>
            <a:fillRect/>
          </a:stretch>
        </p:blipFill>
        <p:spPr bwMode="auto">
          <a:xfrm>
            <a:off x="42946" y="2"/>
            <a:ext cx="6338807" cy="5238763"/>
          </a:xfrm>
          <a:prstGeom prst="rect">
            <a:avLst/>
          </a:prstGeom>
          <a:noFill/>
        </p:spPr>
      </p:pic>
      <p:pic>
        <p:nvPicPr>
          <p:cNvPr id="81924" name="Picture 4" descr="6 ÑÐ¸Ð¿ÑÐ² ÑÐ°Ð¹ÑÑÐ² | ÐÐ½ÑÐ¾Ð³ÑÐ°ÑÑÐºÐ°"/>
          <p:cNvPicPr>
            <a:picLocks noChangeAspect="1" noChangeArrowheads="1"/>
          </p:cNvPicPr>
          <p:nvPr/>
        </p:nvPicPr>
        <p:blipFill>
          <a:blip r:embed="rId2"/>
          <a:srcRect t="43208"/>
          <a:stretch>
            <a:fillRect/>
          </a:stretch>
        </p:blipFill>
        <p:spPr bwMode="auto">
          <a:xfrm>
            <a:off x="6286502" y="472325"/>
            <a:ext cx="5905499" cy="63856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272419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Сучасний Інтерне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19220" y="1151453"/>
            <a:ext cx="1057278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Ознакою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учасного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Інтернету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є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u="sng" dirty="0" err="1">
                <a:solidFill>
                  <a:prstClr val="black"/>
                </a:solidFill>
                <a:latin typeface="Cambria" pitchFamily="18" charset="0"/>
              </a:rPr>
              <a:t>спільна</a:t>
            </a:r>
            <a:r>
              <a:rPr lang="ru-RU" sz="2400" u="sng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u="sng" dirty="0" err="1">
                <a:solidFill>
                  <a:prstClr val="black"/>
                </a:solidFill>
                <a:latin typeface="Cambria" pitchFamily="18" charset="0"/>
              </a:rPr>
              <a:t>діяльність</a:t>
            </a:r>
            <a:r>
              <a:rPr lang="ru-RU" sz="2400" u="sng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та </a:t>
            </a:r>
            <a:r>
              <a:rPr lang="ru-RU" sz="2400" u="sng" dirty="0" err="1">
                <a:solidFill>
                  <a:prstClr val="black"/>
                </a:solidFill>
                <a:latin typeface="Cambria" pitchFamily="18" charset="0"/>
              </a:rPr>
              <a:t>активне</a:t>
            </a:r>
            <a:r>
              <a:rPr lang="ru-RU" sz="2400" u="sng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u="sng" dirty="0" err="1">
                <a:solidFill>
                  <a:prstClr val="black"/>
                </a:solidFill>
                <a:latin typeface="Cambria" pitchFamily="18" charset="0"/>
              </a:rPr>
              <a:t>спілкування</a:t>
            </a:r>
            <a:r>
              <a:rPr lang="ru-RU" sz="2400" u="sng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користувачів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. </a:t>
            </a:r>
          </a:p>
          <a:p>
            <a:pPr defTabSz="1219170" latinLnBrk="1"/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А на початку ХХІ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толіття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панувал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класич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еб-ресурс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, для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яких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бул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</a:p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характер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татич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еб-сторінк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,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творе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пеціалістам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та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наповне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</a:p>
          <a:p>
            <a:pPr defTabSz="1219170" latinLnBrk="1"/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авторами, а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користувач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иступав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лише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в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рол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читача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.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2400" dirty="0">
                <a:solidFill>
                  <a:prstClr val="black"/>
                </a:solidFill>
                <a:latin typeface="Arial"/>
              </a:rPr>
            </a:br>
            <a:endParaRPr lang="ru-RU" sz="2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52" name="AutoShape 4" descr="https://www.maketecheasier.com/assets/uploads/2019/03/Featured-Events-Since-World-Wide-Web-Launch-30-years.jp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54" name="AutoShape 6" descr="https://www.maketecheasier.com/assets/uploads/2019/03/Featured-Events-Since-World-Wide-Web-Launch-30-years.jp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" name="Рисунок 7" descr="Featured-Events-Since-World-Wide-Web-Launch-30-years.jpg"/>
          <p:cNvPicPr>
            <a:picLocks noChangeAspect="1"/>
          </p:cNvPicPr>
          <p:nvPr/>
        </p:nvPicPr>
        <p:blipFill>
          <a:blip r:embed="rId2"/>
          <a:srcRect l="2631" t="5128" b="10256"/>
          <a:stretch>
            <a:fillRect/>
          </a:stretch>
        </p:blipFill>
        <p:spPr>
          <a:xfrm>
            <a:off x="1619219" y="3143250"/>
            <a:ext cx="10572824" cy="36195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61783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90543" y="2000243"/>
            <a:ext cx="7372651" cy="5206935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3552" y="34316"/>
            <a:ext cx="10128448" cy="918169"/>
          </a:xfrm>
        </p:spPr>
        <p:txBody>
          <a:bodyPr/>
          <a:lstStyle/>
          <a:p>
            <a:r>
              <a:rPr lang="uk-UA" sz="8000" dirty="0"/>
              <a:t>Контент</a:t>
            </a:r>
            <a:endParaRPr lang="ru-RU" sz="80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14470" y="952484"/>
            <a:ext cx="10287072" cy="219076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 latinLnBrk="1"/>
            <a:endParaRPr lang="ru-RU" sz="3733" i="1" dirty="0">
              <a:solidFill>
                <a:prstClr val="black"/>
              </a:solidFill>
              <a:latin typeface="Arial Black" pitchFamily="34" charset="0"/>
            </a:endParaRPr>
          </a:p>
          <a:p>
            <a:pPr algn="ctr" defTabSz="1219170" latinLnBrk="1"/>
            <a:r>
              <a:rPr lang="ru-RU" sz="3733" i="1" dirty="0" err="1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Контент</a:t>
            </a:r>
            <a:r>
              <a:rPr lang="ru-RU" sz="3733" i="1" dirty="0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 </a:t>
            </a:r>
            <a:r>
              <a:rPr lang="ru-RU" sz="3733" dirty="0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(англ. </a:t>
            </a:r>
            <a:r>
              <a:rPr lang="ru-RU" sz="3733" dirty="0" err="1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content</a:t>
            </a:r>
            <a:r>
              <a:rPr lang="ru-RU" sz="3733" dirty="0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 — </a:t>
            </a:r>
            <a:r>
              <a:rPr lang="ru-RU" sz="3733" dirty="0" err="1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вміст</a:t>
            </a:r>
            <a:r>
              <a:rPr lang="ru-RU" sz="3733" dirty="0">
                <a:solidFill>
                  <a:srgbClr val="1F497D">
                    <a:lumMod val="75000"/>
                  </a:srgbClr>
                </a:solidFill>
                <a:latin typeface="Arial Black" pitchFamily="34" charset="0"/>
              </a:rPr>
              <a:t>) </a:t>
            </a:r>
            <a:r>
              <a:rPr lang="ru-RU" sz="3733" dirty="0">
                <a:solidFill>
                  <a:prstClr val="black"/>
                </a:solidFill>
                <a:latin typeface="Arial Black" pitchFamily="34" charset="0"/>
              </a:rPr>
              <a:t>— </a:t>
            </a:r>
          </a:p>
          <a:p>
            <a:pPr algn="ctr" defTabSz="1219170" latinLnBrk="1"/>
            <a:r>
              <a:rPr lang="ru-RU" sz="3733" dirty="0" err="1">
                <a:solidFill>
                  <a:prstClr val="black"/>
                </a:solidFill>
                <a:latin typeface="Arial Black" pitchFamily="34" charset="0"/>
              </a:rPr>
              <a:t>це</a:t>
            </a:r>
            <a:r>
              <a:rPr lang="ru-RU" sz="3733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3733" dirty="0" err="1">
                <a:solidFill>
                  <a:prstClr val="black"/>
                </a:solidFill>
                <a:latin typeface="Arial Black" pitchFamily="34" charset="0"/>
              </a:rPr>
              <a:t>інформаційне</a:t>
            </a:r>
            <a:r>
              <a:rPr lang="ru-RU" sz="3733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3733" dirty="0" err="1">
                <a:solidFill>
                  <a:prstClr val="black"/>
                </a:solidFill>
                <a:latin typeface="Arial Black" pitchFamily="34" charset="0"/>
              </a:rPr>
              <a:t>наповнення</a:t>
            </a:r>
            <a:r>
              <a:rPr lang="ru-RU" sz="3733" dirty="0">
                <a:solidFill>
                  <a:prstClr val="black"/>
                </a:solidFill>
                <a:latin typeface="Arial Black" pitchFamily="34" charset="0"/>
              </a:rPr>
              <a:t> сайта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2400" dirty="0">
                <a:solidFill>
                  <a:prstClr val="black"/>
                </a:solidFill>
                <a:latin typeface="Arial"/>
              </a:rPr>
            </a:br>
            <a:endParaRPr lang="ru-RU" sz="2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667504" y="3333749"/>
            <a:ext cx="552453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Відомості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на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веб-сторінці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</a:t>
            </a:r>
          </a:p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можуть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подаватися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у 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різних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формах: текст,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статичні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та </a:t>
            </a:r>
          </a:p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анімовані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графічні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зображення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,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аудіо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,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відео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 Black" pitchFamily="34" charset="0"/>
              </a:rPr>
              <a:t>тощо</a:t>
            </a:r>
            <a:r>
              <a:rPr lang="ru-RU" sz="2400" dirty="0">
                <a:solidFill>
                  <a:prstClr val="black"/>
                </a:solidFill>
                <a:latin typeface="Arial Black" pitchFamily="34" charset="0"/>
              </a:rPr>
              <a:t>.</a:t>
            </a:r>
          </a:p>
        </p:txBody>
      </p:sp>
      <p:sp>
        <p:nvSpPr>
          <p:cNvPr id="1030" name="AutoShape 6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06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uk-UA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2"/>
            <a:ext cx="12192000" cy="7009843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1031777" y="68630"/>
            <a:ext cx="10128448" cy="1035373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1" hangingPunct="1">
              <a:spcBef>
                <a:spcPct val="0"/>
              </a:spcBef>
              <a:buNone/>
              <a:defRPr sz="48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ru-RU" sz="3733" smtClean="0">
                <a:solidFill>
                  <a:schemeClr val="bg1"/>
                </a:solidFill>
              </a:rPr>
              <a:t>Популярні системи управління сайтами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04541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208548" y="665760"/>
            <a:ext cx="5694948" cy="5751082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latinLnBrk="1"/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Системи управління </a:t>
            </a:r>
            <a:endParaRPr lang="en-US" sz="3200" b="1" dirty="0" smtClean="0">
              <a:solidFill>
                <a:schemeClr val="tx1"/>
              </a:solidFill>
              <a:latin typeface="Cambria" pitchFamily="18" charset="0"/>
            </a:endParaRPr>
          </a:p>
          <a:p>
            <a:pPr algn="ctr" defTabSz="1219170" latinLnBrk="1"/>
            <a:r>
              <a:rPr lang="uk-UA" sz="3200" b="1" dirty="0" smtClean="0">
                <a:solidFill>
                  <a:schemeClr val="tx1"/>
                </a:solidFill>
                <a:latin typeface="Cambria" pitchFamily="18" charset="0"/>
              </a:rPr>
              <a:t>сайтами </a:t>
            </a:r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пропонують </a:t>
            </a:r>
            <a:endParaRPr lang="en-US" sz="3200" b="1" dirty="0">
              <a:solidFill>
                <a:schemeClr val="tx1"/>
              </a:solidFill>
              <a:latin typeface="Cambria" pitchFamily="18" charset="0"/>
            </a:endParaRPr>
          </a:p>
          <a:p>
            <a:pPr algn="ctr" defTabSz="1219170" latinLnBrk="1"/>
            <a:r>
              <a:rPr lang="uk-UA" sz="3200" b="1" dirty="0" smtClean="0">
                <a:solidFill>
                  <a:schemeClr val="tx1"/>
                </a:solidFill>
                <a:latin typeface="Cambria" pitchFamily="18" charset="0"/>
              </a:rPr>
              <a:t>набори </a:t>
            </a:r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шаблонів </a:t>
            </a:r>
          </a:p>
          <a:p>
            <a:pPr algn="ctr" defTabSz="1219170" latinLnBrk="1"/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оформлення сторінки і </a:t>
            </a:r>
            <a:endParaRPr lang="en-US" sz="3200" b="1" dirty="0" smtClean="0">
              <a:solidFill>
                <a:schemeClr val="tx1"/>
              </a:solidFill>
              <a:latin typeface="Cambria" pitchFamily="18" charset="0"/>
            </a:endParaRPr>
          </a:p>
          <a:p>
            <a:pPr algn="ctr" defTabSz="1219170" latinLnBrk="1"/>
            <a:r>
              <a:rPr lang="uk-UA" sz="3200" b="1" dirty="0" smtClean="0">
                <a:solidFill>
                  <a:schemeClr val="tx1"/>
                </a:solidFill>
                <a:latin typeface="Cambria" pitchFamily="18" charset="0"/>
              </a:rPr>
              <a:t>модулів</a:t>
            </a:r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, що робить сайт динамічним: </a:t>
            </a:r>
          </a:p>
          <a:p>
            <a:pPr algn="ctr" defTabSz="1219170" latinLnBrk="1"/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форумів, чатів, стрічок </a:t>
            </a:r>
            <a:endParaRPr lang="en-US" sz="3200" b="1" dirty="0" smtClean="0">
              <a:solidFill>
                <a:schemeClr val="tx1"/>
              </a:solidFill>
              <a:latin typeface="Cambria" pitchFamily="18" charset="0"/>
            </a:endParaRPr>
          </a:p>
          <a:p>
            <a:pPr algn="ctr" defTabSz="1219170" latinLnBrk="1"/>
            <a:r>
              <a:rPr lang="uk-UA" sz="3200" b="1" dirty="0" smtClean="0">
                <a:solidFill>
                  <a:schemeClr val="tx1"/>
                </a:solidFill>
                <a:latin typeface="Cambria" pitchFamily="18" charset="0"/>
              </a:rPr>
              <a:t>новин</a:t>
            </a:r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, каталогів файлів, </a:t>
            </a:r>
          </a:p>
          <a:p>
            <a:pPr algn="ctr" defTabSz="1219170" latinLnBrk="1"/>
            <a:r>
              <a:rPr lang="uk-UA" sz="3200" b="1" dirty="0">
                <a:solidFill>
                  <a:schemeClr val="tx1"/>
                </a:solidFill>
                <a:latin typeface="Cambria" pitchFamily="18" charset="0"/>
              </a:rPr>
              <a:t>контролю статистики. </a:t>
            </a:r>
            <a:endParaRPr lang="ru-RU" sz="3200" b="1" dirty="0">
              <a:solidFill>
                <a:schemeClr val="tx1"/>
              </a:solidFill>
              <a:latin typeface="Cambria" pitchFamily="18" charset="0"/>
            </a:endParaRPr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9881" b="9881"/>
          <a:stretch>
            <a:fillRect/>
          </a:stretch>
        </p:blipFill>
        <p:spPr>
          <a:xfrm>
            <a:off x="6142376" y="-1"/>
            <a:ext cx="6049625" cy="3737811"/>
          </a:xfr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517" y="3413182"/>
            <a:ext cx="5518483" cy="350498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99894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"/>
          <p:cNvSpPr>
            <a:spLocks noGrp="1"/>
          </p:cNvSpPr>
          <p:nvPr>
            <p:ph type="pic" idx="1"/>
          </p:nvPr>
        </p:nvSpPr>
        <p:spPr/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5044"/>
          <a:stretch/>
        </p:blipFill>
        <p:spPr>
          <a:xfrm>
            <a:off x="5550568" y="0"/>
            <a:ext cx="6641432" cy="685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04801" y="700173"/>
            <a:ext cx="497305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dirty="0">
                <a:solidFill>
                  <a:schemeClr val="bg1"/>
                </a:solidFill>
              </a:rPr>
              <a:t>Принцип </a:t>
            </a:r>
            <a:r>
              <a:rPr lang="uk-UA" sz="4000" dirty="0">
                <a:solidFill>
                  <a:schemeClr val="bg1"/>
                </a:solidFill>
              </a:rPr>
              <a:t>роботи </a:t>
            </a:r>
            <a:r>
              <a:rPr lang="uk-UA" sz="3600" dirty="0">
                <a:solidFill>
                  <a:schemeClr val="bg1"/>
                </a:solidFill>
              </a:rPr>
              <a:t>всіх CMS заснований на поділі контенту (змісту) і дизайну (оформлення) </a:t>
            </a:r>
            <a:r>
              <a:rPr lang="uk-UA" sz="3600" dirty="0" err="1" smtClean="0">
                <a:solidFill>
                  <a:schemeClr val="bg1"/>
                </a:solidFill>
              </a:rPr>
              <a:t>сайта</a:t>
            </a:r>
            <a:r>
              <a:rPr lang="uk-UA" sz="3600" dirty="0" smtClean="0">
                <a:solidFill>
                  <a:schemeClr val="bg1"/>
                </a:solidFill>
              </a:rPr>
              <a:t> </a:t>
            </a:r>
            <a:endParaRPr lang="uk-UA" sz="3600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380" y="3090111"/>
            <a:ext cx="4154905" cy="415490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632640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Схема 12"/>
          <p:cNvGraphicFramePr/>
          <p:nvPr>
            <p:extLst>
              <p:ext uri="{D42A27DB-BD31-4B8C-83A1-F6EECF244321}">
                <p14:modId xmlns="" xmlns:p14="http://schemas.microsoft.com/office/powerpoint/2010/main" val="1835767628"/>
              </p:ext>
            </p:extLst>
          </p:nvPr>
        </p:nvGraphicFramePr>
        <p:xfrm>
          <a:off x="1807411" y="-40328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632" y="3002329"/>
            <a:ext cx="4331368" cy="403539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986990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1200189" y="95227"/>
            <a:ext cx="10515600" cy="739056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defTabSz="1219170" latinLnBrk="1"/>
            <a:r>
              <a:rPr lang="ru-RU" sz="6400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cs typeface="Arial" pitchFamily="34" charset="0"/>
              </a:rPr>
              <a:t>Етапи</a:t>
            </a:r>
            <a:r>
              <a:rPr lang="ru-RU" sz="6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cs typeface="Arial" pitchFamily="34" charset="0"/>
              </a:rPr>
              <a:t> </a:t>
            </a:r>
            <a:r>
              <a:rPr lang="ru-RU" sz="6400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cs typeface="Arial" pitchFamily="34" charset="0"/>
              </a:rPr>
              <a:t>створення</a:t>
            </a:r>
            <a:r>
              <a:rPr lang="ru-RU" sz="6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cs typeface="Arial" pitchFamily="34" charset="0"/>
              </a:rPr>
              <a:t> </a:t>
            </a:r>
            <a:r>
              <a:rPr lang="ru-RU" sz="6400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  <a:cs typeface="Arial" pitchFamily="34" charset="0"/>
              </a:rPr>
              <a:t>веб-сайту</a:t>
            </a:r>
            <a:endParaRPr lang="en-US" sz="6400" b="1" dirty="0">
              <a:solidFill>
                <a:prstClr val="black">
                  <a:lumMod val="85000"/>
                  <a:lumOff val="15000"/>
                </a:prstClr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93203EF6-B8F0-4C62-966C-1E98CE8C0F8D}"/>
              </a:ext>
            </a:extLst>
          </p:cNvPr>
          <p:cNvCxnSpPr>
            <a:cxnSpLocks/>
            <a:stCxn id="24" idx="6"/>
          </p:cNvCxnSpPr>
          <p:nvPr/>
        </p:nvCxnSpPr>
        <p:spPr>
          <a:xfrm>
            <a:off x="1772234" y="3711906"/>
            <a:ext cx="8646387" cy="8796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3">
            <a:extLst>
              <a:ext uri="{FF2B5EF4-FFF2-40B4-BE49-F238E27FC236}">
                <a16:creationId xmlns="" xmlns:a16="http://schemas.microsoft.com/office/drawing/2014/main" id="{330ACFAA-4411-45E1-BFC4-1CA40AAAA938}"/>
              </a:ext>
            </a:extLst>
          </p:cNvPr>
          <p:cNvGrpSpPr/>
          <p:nvPr/>
        </p:nvGrpSpPr>
        <p:grpSpPr>
          <a:xfrm>
            <a:off x="506357" y="1238237"/>
            <a:ext cx="2027872" cy="2450683"/>
            <a:chOff x="570636" y="1442780"/>
            <a:chExt cx="1330036" cy="1793870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Oval 14">
              <a:extLst>
                <a:ext uri="{FF2B5EF4-FFF2-40B4-BE49-F238E27FC236}">
                  <a16:creationId xmlns="" xmlns:a16="http://schemas.microsoft.com/office/drawing/2014/main" id="{A3B92C88-8688-4571-99CC-3CBEE3F5D2D9}"/>
                </a:ext>
              </a:extLst>
            </p:cNvPr>
            <p:cNvSpPr/>
            <p:nvPr/>
          </p:nvSpPr>
          <p:spPr>
            <a:xfrm>
              <a:off x="1013981" y="2793305"/>
              <a:ext cx="443345" cy="44334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en-US" sz="2400" b="1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1</a:t>
              </a:r>
            </a:p>
          </p:txBody>
        </p:sp>
        <p:sp>
          <p:nvSpPr>
            <p:cNvPr id="8" name="Rectangle 5">
              <a:extLst>
                <a:ext uri="{FF2B5EF4-FFF2-40B4-BE49-F238E27FC236}">
                  <a16:creationId xmlns="" xmlns:a16="http://schemas.microsoft.com/office/drawing/2014/main" id="{17B7020D-F8B5-4750-BEFB-97ACC35638B8}"/>
                </a:ext>
              </a:extLst>
            </p:cNvPr>
            <p:cNvSpPr/>
            <p:nvPr/>
          </p:nvSpPr>
          <p:spPr>
            <a:xfrm>
              <a:off x="570636" y="1442780"/>
              <a:ext cx="1330036" cy="150026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2133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Постановка </a:t>
              </a:r>
            </a:p>
            <a:p>
              <a:pPr algn="ctr" defTabSz="1219170" latinLnBrk="1"/>
              <a:r>
                <a:rPr lang="uk-UA" sz="2133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завдання</a:t>
              </a:r>
              <a:endParaRPr lang="en-US" sz="21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grpSp>
        <p:nvGrpSpPr>
          <p:cNvPr id="3" name="Group 6">
            <a:extLst>
              <a:ext uri="{FF2B5EF4-FFF2-40B4-BE49-F238E27FC236}">
                <a16:creationId xmlns="" xmlns:a16="http://schemas.microsoft.com/office/drawing/2014/main" id="{69BF83FB-C74F-43AE-975C-8B45550EBF0A}"/>
              </a:ext>
            </a:extLst>
          </p:cNvPr>
          <p:cNvGrpSpPr/>
          <p:nvPr/>
        </p:nvGrpSpPr>
        <p:grpSpPr>
          <a:xfrm>
            <a:off x="4065589" y="1238237"/>
            <a:ext cx="2027872" cy="2450683"/>
            <a:chOff x="3240060" y="1442780"/>
            <a:chExt cx="1330036" cy="1793870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Oval 80">
              <a:extLst>
                <a:ext uri="{FF2B5EF4-FFF2-40B4-BE49-F238E27FC236}">
                  <a16:creationId xmlns="" xmlns:a16="http://schemas.microsoft.com/office/drawing/2014/main" id="{2A095F73-E5B0-4AD4-9EA2-36D0FFF439D8}"/>
                </a:ext>
              </a:extLst>
            </p:cNvPr>
            <p:cNvSpPr/>
            <p:nvPr/>
          </p:nvSpPr>
          <p:spPr>
            <a:xfrm>
              <a:off x="3683405" y="2793305"/>
              <a:ext cx="443345" cy="4433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ru-RU" sz="2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2</a:t>
              </a:r>
              <a:endParaRPr lang="en-US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  <p:sp>
          <p:nvSpPr>
            <p:cNvPr id="11" name="Rectangle 76">
              <a:extLst>
                <a:ext uri="{FF2B5EF4-FFF2-40B4-BE49-F238E27FC236}">
                  <a16:creationId xmlns="" xmlns:a16="http://schemas.microsoft.com/office/drawing/2014/main" id="{3343FE7A-EEE7-4813-8F7F-DBA4EBA29475}"/>
                </a:ext>
              </a:extLst>
            </p:cNvPr>
            <p:cNvSpPr/>
            <p:nvPr/>
          </p:nvSpPr>
          <p:spPr>
            <a:xfrm>
              <a:off x="3240060" y="1442780"/>
              <a:ext cx="1330036" cy="15002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2133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Визначення </a:t>
              </a:r>
            </a:p>
            <a:p>
              <a:pPr algn="ctr" defTabSz="1219170" latinLnBrk="1"/>
              <a:r>
                <a:rPr lang="uk-UA" sz="2133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труктури </a:t>
              </a:r>
            </a:p>
            <a:p>
              <a:pPr algn="ctr" defTabSz="1219170" latinLnBrk="1"/>
              <a:r>
                <a:rPr lang="uk-UA" sz="2133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айту</a:t>
              </a:r>
              <a:endParaRPr lang="en-US" sz="2133" b="1" cap="all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grpSp>
        <p:nvGrpSpPr>
          <p:cNvPr id="6" name="Group 7">
            <a:extLst>
              <a:ext uri="{FF2B5EF4-FFF2-40B4-BE49-F238E27FC236}">
                <a16:creationId xmlns="" xmlns:a16="http://schemas.microsoft.com/office/drawing/2014/main" id="{D698B194-4EDC-474A-AA08-CCC69A33B1EE}"/>
              </a:ext>
            </a:extLst>
          </p:cNvPr>
          <p:cNvGrpSpPr/>
          <p:nvPr/>
        </p:nvGrpSpPr>
        <p:grpSpPr>
          <a:xfrm>
            <a:off x="7624821" y="1238237"/>
            <a:ext cx="2462787" cy="2450683"/>
            <a:chOff x="5909484" y="1442780"/>
            <a:chExt cx="1330036" cy="1793870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Oval 81">
              <a:extLst>
                <a:ext uri="{FF2B5EF4-FFF2-40B4-BE49-F238E27FC236}">
                  <a16:creationId xmlns="" xmlns:a16="http://schemas.microsoft.com/office/drawing/2014/main" id="{68618E11-1756-49A5-BECA-678E166BC87C}"/>
                </a:ext>
              </a:extLst>
            </p:cNvPr>
            <p:cNvSpPr/>
            <p:nvPr/>
          </p:nvSpPr>
          <p:spPr>
            <a:xfrm>
              <a:off x="6352829" y="2793305"/>
              <a:ext cx="443345" cy="44334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ru-RU" sz="2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3</a:t>
              </a:r>
              <a:endParaRPr lang="en-US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  <p:sp>
          <p:nvSpPr>
            <p:cNvPr id="14" name="Rectangle 78">
              <a:extLst>
                <a:ext uri="{FF2B5EF4-FFF2-40B4-BE49-F238E27FC236}">
                  <a16:creationId xmlns="" xmlns:a16="http://schemas.microsoft.com/office/drawing/2014/main" id="{B412AC78-2AA6-4180-8AFF-6698EDD62B7A}"/>
                </a:ext>
              </a:extLst>
            </p:cNvPr>
            <p:cNvSpPr/>
            <p:nvPr/>
          </p:nvSpPr>
          <p:spPr>
            <a:xfrm>
              <a:off x="5909484" y="1442780"/>
              <a:ext cx="1330036" cy="15002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1867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Розробка </a:t>
              </a:r>
            </a:p>
            <a:p>
              <a:pPr algn="ctr" defTabSz="1219170" latinLnBrk="1"/>
              <a:r>
                <a:rPr lang="uk-UA" sz="1867" b="1" cap="all" dirty="0" err="1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дизайн-</a:t>
              </a:r>
              <a:r>
                <a:rPr lang="uk-UA" sz="1867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 макета </a:t>
              </a:r>
            </a:p>
            <a:p>
              <a:pPr algn="ctr" defTabSz="1219170" latinLnBrk="1"/>
              <a:r>
                <a:rPr lang="uk-UA" sz="1867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торінок </a:t>
              </a:r>
            </a:p>
            <a:p>
              <a:pPr algn="ctr" defTabSz="1219170" latinLnBrk="1"/>
              <a:r>
                <a:rPr lang="uk-UA" sz="1867" b="1" cap="all" dirty="0" err="1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айта</a:t>
              </a:r>
              <a:endParaRPr lang="en-US" sz="1867" b="1" cap="all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grpSp>
        <p:nvGrpSpPr>
          <p:cNvPr id="9" name="Group 10">
            <a:extLst>
              <a:ext uri="{FF2B5EF4-FFF2-40B4-BE49-F238E27FC236}">
                <a16:creationId xmlns="" xmlns:a16="http://schemas.microsoft.com/office/drawing/2014/main" id="{87F9D64B-9DD2-4D60-8C97-3DC5EBFFE793}"/>
              </a:ext>
            </a:extLst>
          </p:cNvPr>
          <p:cNvGrpSpPr/>
          <p:nvPr/>
        </p:nvGrpSpPr>
        <p:grpSpPr>
          <a:xfrm>
            <a:off x="2285973" y="3571275"/>
            <a:ext cx="2027872" cy="2524744"/>
            <a:chOff x="1905348" y="3788293"/>
            <a:chExt cx="1330036" cy="1848083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Oval 82">
              <a:extLst>
                <a:ext uri="{FF2B5EF4-FFF2-40B4-BE49-F238E27FC236}">
                  <a16:creationId xmlns="" xmlns:a16="http://schemas.microsoft.com/office/drawing/2014/main" id="{FC10D63E-BF86-4C3B-91A5-A5A2D5147275}"/>
                </a:ext>
              </a:extLst>
            </p:cNvPr>
            <p:cNvSpPr/>
            <p:nvPr/>
          </p:nvSpPr>
          <p:spPr>
            <a:xfrm>
              <a:off x="2353423" y="3788293"/>
              <a:ext cx="443345" cy="4433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ru-RU" sz="2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4</a:t>
              </a:r>
              <a:endParaRPr lang="en-US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  <p:sp>
          <p:nvSpPr>
            <p:cNvPr id="17" name="Rectangle 75">
              <a:extLst>
                <a:ext uri="{FF2B5EF4-FFF2-40B4-BE49-F238E27FC236}">
                  <a16:creationId xmlns="" xmlns:a16="http://schemas.microsoft.com/office/drawing/2014/main" id="{D617A00F-ECCF-4CDB-A9ED-FD2BEC67A6A6}"/>
                </a:ext>
              </a:extLst>
            </p:cNvPr>
            <p:cNvSpPr/>
            <p:nvPr/>
          </p:nvSpPr>
          <p:spPr>
            <a:xfrm>
              <a:off x="1905348" y="4081896"/>
              <a:ext cx="1330036" cy="15544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творення та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верстка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торінок</a:t>
              </a:r>
              <a:endParaRPr lang="en-US" sz="1467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grpSp>
        <p:nvGrpSpPr>
          <p:cNvPr id="12" name="Group 9">
            <a:extLst>
              <a:ext uri="{FF2B5EF4-FFF2-40B4-BE49-F238E27FC236}">
                <a16:creationId xmlns="" xmlns:a16="http://schemas.microsoft.com/office/drawing/2014/main" id="{BC70D273-6482-42C3-9630-1E15E73D5D1E}"/>
              </a:ext>
            </a:extLst>
          </p:cNvPr>
          <p:cNvGrpSpPr/>
          <p:nvPr/>
        </p:nvGrpSpPr>
        <p:grpSpPr>
          <a:xfrm>
            <a:off x="5845205" y="3571275"/>
            <a:ext cx="2027872" cy="2524744"/>
            <a:chOff x="4574772" y="3788293"/>
            <a:chExt cx="1330036" cy="1848083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Oval 83">
              <a:extLst>
                <a:ext uri="{FF2B5EF4-FFF2-40B4-BE49-F238E27FC236}">
                  <a16:creationId xmlns="" xmlns:a16="http://schemas.microsoft.com/office/drawing/2014/main" id="{3F8218C5-3295-4C67-A60D-DC5616EECD6D}"/>
                </a:ext>
              </a:extLst>
            </p:cNvPr>
            <p:cNvSpPr/>
            <p:nvPr/>
          </p:nvSpPr>
          <p:spPr>
            <a:xfrm>
              <a:off x="5022848" y="3788293"/>
              <a:ext cx="443345" cy="44334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ru-RU" sz="2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5</a:t>
              </a:r>
              <a:endParaRPr lang="en-US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  <p:sp>
          <p:nvSpPr>
            <p:cNvPr id="20" name="Rectangle 77">
              <a:extLst>
                <a:ext uri="{FF2B5EF4-FFF2-40B4-BE49-F238E27FC236}">
                  <a16:creationId xmlns="" xmlns:a16="http://schemas.microsoft.com/office/drawing/2014/main" id="{97365BC3-1AF2-4DEB-A30F-5A05729A945A}"/>
                </a:ext>
              </a:extLst>
            </p:cNvPr>
            <p:cNvSpPr/>
            <p:nvPr/>
          </p:nvSpPr>
          <p:spPr>
            <a:xfrm>
              <a:off x="4574772" y="4081896"/>
              <a:ext cx="1330036" cy="155448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Розміщення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на сайті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 додаткових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ервісів і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об’єктів для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 зв’язку</a:t>
              </a:r>
              <a:endParaRPr lang="en-US" sz="2000" b="1" cap="all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grpSp>
        <p:nvGrpSpPr>
          <p:cNvPr id="15" name="Group 8">
            <a:extLst>
              <a:ext uri="{FF2B5EF4-FFF2-40B4-BE49-F238E27FC236}">
                <a16:creationId xmlns="" xmlns:a16="http://schemas.microsoft.com/office/drawing/2014/main" id="{E7B152B5-ACE4-469C-B0AE-5449FE7809C9}"/>
              </a:ext>
            </a:extLst>
          </p:cNvPr>
          <p:cNvGrpSpPr/>
          <p:nvPr/>
        </p:nvGrpSpPr>
        <p:grpSpPr>
          <a:xfrm>
            <a:off x="9404436" y="3571275"/>
            <a:ext cx="2027872" cy="2524744"/>
            <a:chOff x="7244195" y="3788293"/>
            <a:chExt cx="1330036" cy="1848083"/>
          </a:xfrm>
          <a:effectLst>
            <a:outerShdw blurRad="1016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Oval 84">
              <a:extLst>
                <a:ext uri="{FF2B5EF4-FFF2-40B4-BE49-F238E27FC236}">
                  <a16:creationId xmlns="" xmlns:a16="http://schemas.microsoft.com/office/drawing/2014/main" id="{0CB9885F-9C1A-4BAB-B092-D5F750AD60F9}"/>
                </a:ext>
              </a:extLst>
            </p:cNvPr>
            <p:cNvSpPr/>
            <p:nvPr/>
          </p:nvSpPr>
          <p:spPr>
            <a:xfrm>
              <a:off x="7692272" y="3788293"/>
              <a:ext cx="443345" cy="44334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en-US" sz="2400" b="1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6</a:t>
              </a:r>
            </a:p>
          </p:txBody>
        </p:sp>
        <p:sp>
          <p:nvSpPr>
            <p:cNvPr id="23" name="Rectangle 79">
              <a:extLst>
                <a:ext uri="{FF2B5EF4-FFF2-40B4-BE49-F238E27FC236}">
                  <a16:creationId xmlns="" xmlns:a16="http://schemas.microsoft.com/office/drawing/2014/main" id="{06FC7F02-3D99-45E5-85A8-4D1AFD2EB228}"/>
                </a:ext>
              </a:extLst>
            </p:cNvPr>
            <p:cNvSpPr/>
            <p:nvPr/>
          </p:nvSpPr>
          <p:spPr>
            <a:xfrm>
              <a:off x="7244195" y="4081896"/>
              <a:ext cx="1330036" cy="155448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Розміщення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(публікація) </a:t>
              </a:r>
            </a:p>
            <a:p>
              <a:pPr algn="ctr" defTabSz="1219170" latinLnBrk="1"/>
              <a:r>
                <a:rPr lang="uk-UA" sz="2000" b="1" cap="all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/>
                </a:rPr>
                <a:t>сайту</a:t>
              </a:r>
              <a:endParaRPr lang="en-US" sz="1467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endParaRPr>
            </a:p>
          </p:txBody>
        </p:sp>
      </p:grpSp>
      <p:sp>
        <p:nvSpPr>
          <p:cNvPr id="24" name="Oval 2">
            <a:extLst>
              <a:ext uri="{FF2B5EF4-FFF2-40B4-BE49-F238E27FC236}">
                <a16:creationId xmlns="" xmlns:a16="http://schemas.microsoft.com/office/drawing/2014/main" id="{C657C7AD-2613-4442-96F7-54886D7652EC}"/>
              </a:ext>
            </a:extLst>
          </p:cNvPr>
          <p:cNvSpPr/>
          <p:nvPr/>
        </p:nvSpPr>
        <p:spPr>
          <a:xfrm>
            <a:off x="1487064" y="3584147"/>
            <a:ext cx="285171" cy="255519"/>
          </a:xfrm>
          <a:prstGeom prst="ellipse">
            <a:avLst/>
          </a:prstGeom>
          <a:ln w="38100">
            <a:solidFill>
              <a:srgbClr val="F0E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en-US">
              <a:solidFill>
                <a:prstClr val="black">
                  <a:lumMod val="85000"/>
                  <a:lumOff val="15000"/>
                </a:prstClr>
              </a:solidFill>
              <a:latin typeface="Calibri"/>
            </a:endParaRPr>
          </a:p>
        </p:txBody>
      </p:sp>
      <p:sp>
        <p:nvSpPr>
          <p:cNvPr id="26" name="Oval 34">
            <a:extLst>
              <a:ext uri="{FF2B5EF4-FFF2-40B4-BE49-F238E27FC236}">
                <a16:creationId xmlns="" xmlns:a16="http://schemas.microsoft.com/office/drawing/2014/main" id="{F0AA6AFB-DFA7-4B9B-95B8-087DEC7F1A21}"/>
              </a:ext>
            </a:extLst>
          </p:cNvPr>
          <p:cNvSpPr/>
          <p:nvPr/>
        </p:nvSpPr>
        <p:spPr>
          <a:xfrm>
            <a:off x="5046296" y="3584147"/>
            <a:ext cx="285171" cy="255519"/>
          </a:xfrm>
          <a:prstGeom prst="ellipse">
            <a:avLst/>
          </a:prstGeom>
          <a:solidFill>
            <a:schemeClr val="accent3"/>
          </a:solidFill>
          <a:ln w="38100">
            <a:solidFill>
              <a:srgbClr val="F0E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en-US">
              <a:solidFill>
                <a:prstClr val="black">
                  <a:lumMod val="85000"/>
                  <a:lumOff val="15000"/>
                </a:prstClr>
              </a:solidFill>
              <a:latin typeface="Calibri"/>
            </a:endParaRPr>
          </a:p>
        </p:txBody>
      </p:sp>
      <p:sp>
        <p:nvSpPr>
          <p:cNvPr id="28" name="Oval 36">
            <a:extLst>
              <a:ext uri="{FF2B5EF4-FFF2-40B4-BE49-F238E27FC236}">
                <a16:creationId xmlns="" xmlns:a16="http://schemas.microsoft.com/office/drawing/2014/main" id="{DE6712A9-DC40-439F-B613-12E1B43AB223}"/>
              </a:ext>
            </a:extLst>
          </p:cNvPr>
          <p:cNvSpPr/>
          <p:nvPr/>
        </p:nvSpPr>
        <p:spPr>
          <a:xfrm>
            <a:off x="8605528" y="3584147"/>
            <a:ext cx="285171" cy="255519"/>
          </a:xfrm>
          <a:prstGeom prst="ellipse">
            <a:avLst/>
          </a:prstGeom>
          <a:solidFill>
            <a:schemeClr val="accent5"/>
          </a:solidFill>
          <a:ln w="38100">
            <a:solidFill>
              <a:srgbClr val="F0E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en-US">
              <a:solidFill>
                <a:prstClr val="black">
                  <a:lumMod val="85000"/>
                  <a:lumOff val="15000"/>
                </a:prstClr>
              </a:solidFill>
              <a:latin typeface="Calibri"/>
            </a:endParaRPr>
          </a:p>
        </p:txBody>
      </p:sp>
      <p:pic>
        <p:nvPicPr>
          <p:cNvPr id="30" name="Graphic 25" descr="Handshake">
            <a:extLst>
              <a:ext uri="{FF2B5EF4-FFF2-40B4-BE49-F238E27FC236}">
                <a16:creationId xmlns="" xmlns:a16="http://schemas.microsoft.com/office/drawing/2014/main" id="{FC9A21CC-BC0E-4FEC-83E6-09E166B287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7810514" y="4381507"/>
            <a:ext cx="1610588" cy="1485892"/>
          </a:xfrm>
          <a:prstGeom prst="rect">
            <a:avLst/>
          </a:prstGeom>
        </p:spPr>
      </p:pic>
      <p:pic>
        <p:nvPicPr>
          <p:cNvPr id="31" name="Graphic 27" descr="Meeting">
            <a:extLst>
              <a:ext uri="{FF2B5EF4-FFF2-40B4-BE49-F238E27FC236}">
                <a16:creationId xmlns="" xmlns:a16="http://schemas.microsoft.com/office/drawing/2014/main" id="{1A4C2D8E-CDD0-49AD-BD46-6C3D6DCCD7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2520802" y="1602794"/>
            <a:ext cx="1610588" cy="1485892"/>
          </a:xfrm>
          <a:prstGeom prst="rect">
            <a:avLst/>
          </a:prstGeom>
        </p:spPr>
      </p:pic>
      <p:pic>
        <p:nvPicPr>
          <p:cNvPr id="32" name="Graphic 29" descr="Bar chart">
            <a:extLst>
              <a:ext uri="{FF2B5EF4-FFF2-40B4-BE49-F238E27FC236}">
                <a16:creationId xmlns="" xmlns:a16="http://schemas.microsoft.com/office/drawing/2014/main" id="{AA9BE364-638A-46D6-90FB-7A2CFC60D3F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741187" y="4296122"/>
            <a:ext cx="1610588" cy="1485892"/>
          </a:xfrm>
          <a:prstGeom prst="rect">
            <a:avLst/>
          </a:prstGeom>
        </p:spPr>
      </p:pic>
      <p:pic>
        <p:nvPicPr>
          <p:cNvPr id="33" name="Graphic 31" descr="Hourglass">
            <a:extLst>
              <a:ext uri="{FF2B5EF4-FFF2-40B4-BE49-F238E27FC236}">
                <a16:creationId xmlns="" xmlns:a16="http://schemas.microsoft.com/office/drawing/2014/main" id="{274CCD98-6BAC-4A2E-9447-5800103433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4297628" y="4296122"/>
            <a:ext cx="1610588" cy="1485892"/>
          </a:xfrm>
          <a:prstGeom prst="rect">
            <a:avLst/>
          </a:prstGeom>
        </p:spPr>
      </p:pic>
      <p:pic>
        <p:nvPicPr>
          <p:cNvPr id="34" name="Graphic 40" descr="Puzzle">
            <a:extLst>
              <a:ext uri="{FF2B5EF4-FFF2-40B4-BE49-F238E27FC236}">
                <a16:creationId xmlns="" xmlns:a16="http://schemas.microsoft.com/office/drawing/2014/main" id="{4BC0EE17-1D08-4E9E-B4C1-96C3EF9FC20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6080034" y="1602794"/>
            <a:ext cx="1610588" cy="1485892"/>
          </a:xfrm>
          <a:prstGeom prst="rect">
            <a:avLst/>
          </a:prstGeom>
        </p:spPr>
      </p:pic>
      <p:pic>
        <p:nvPicPr>
          <p:cNvPr id="35" name="Graphic 85" descr="Box trolley">
            <a:extLst>
              <a:ext uri="{FF2B5EF4-FFF2-40B4-BE49-F238E27FC236}">
                <a16:creationId xmlns="" xmlns:a16="http://schemas.microsoft.com/office/drawing/2014/main" id="{EE4B635C-F929-457C-857E-D4888F770E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9620276" y="1619238"/>
            <a:ext cx="1610588" cy="148589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4966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82" name="Picture 26" descr="ÐÐ°ÑÑÐ¸Ð½ÐºÐ¸ Ð¿Ð¾ Ð·Ð°Ð¿ÑÐ¾ÑÑ Sublime Text"/>
          <p:cNvPicPr>
            <a:picLocks noChangeAspect="1" noChangeArrowheads="1"/>
          </p:cNvPicPr>
          <p:nvPr/>
        </p:nvPicPr>
        <p:blipFill>
          <a:blip r:embed="rId2" cstate="print"/>
          <a:srcRect l="2500" t="7411" r="2499" b="8102"/>
          <a:stretch>
            <a:fillRect/>
          </a:stretch>
        </p:blipFill>
        <p:spPr bwMode="auto">
          <a:xfrm>
            <a:off x="4190987" y="4619628"/>
            <a:ext cx="4095779" cy="2047897"/>
          </a:xfrm>
          <a:prstGeom prst="rect">
            <a:avLst/>
          </a:prstGeom>
          <a:noFill/>
        </p:spPr>
      </p:pic>
      <p:pic>
        <p:nvPicPr>
          <p:cNvPr id="96268" name="Picture 12" descr="ÐÐ°ÑÑÐ¸Ð½ÐºÐ¸ Ð¿Ð¾ Ð·Ð°Ð¿ÑÐ¾ÑÑ microsoft word htm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208" y="2476494"/>
            <a:ext cx="3714776" cy="2038345"/>
          </a:xfrm>
          <a:prstGeom prst="rect">
            <a:avLst/>
          </a:prstGeom>
          <a:noFill/>
        </p:spPr>
      </p:pic>
      <p:graphicFrame>
        <p:nvGraphicFramePr>
          <p:cNvPr id="3" name="Схема 2"/>
          <p:cNvGraphicFramePr/>
          <p:nvPr/>
        </p:nvGraphicFramePr>
        <p:xfrm>
          <a:off x="3905235" y="190479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6258" name="Picture 2" descr="ÐÐ°ÑÑÐ¸Ð½ÐºÐ¸ Ð¿Ð¾ Ð·Ð°Ð¿ÑÐ¾ÑÑ Ð±Ð»Ð¾ÐºÐ½Ð¾Ñ Ð´Ð»Ñ html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4569" y="190477"/>
            <a:ext cx="3810667" cy="2205760"/>
          </a:xfrm>
          <a:prstGeom prst="rect">
            <a:avLst/>
          </a:prstGeom>
          <a:noFill/>
        </p:spPr>
      </p:pic>
      <p:sp>
        <p:nvSpPr>
          <p:cNvPr id="96260" name="AutoShape 4" descr="ÐÐ°ÑÑÐ¸Ð½ÐºÐ¸ Ð¿Ð¾ Ð·Ð°Ð¿ÑÐ¾ÑÑ microsoft word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6262" name="AutoShape 6" descr="ÐÐ°ÑÑÐ¸Ð½ÐºÐ¸ Ð¿Ð¾ Ð·Ð°Ð¿ÑÐ¾ÑÑ microsoft word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6264" name="AutoShape 8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6266" name="AutoShape 10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96270" name="Picture 14" descr="ÐÐ°ÑÑÐ¸Ð½ÐºÐ¸ Ð¿Ð¾ Ð·Ð°Ð¿ÑÐ¾ÑÑ dreamweaver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5209" y="4667259"/>
            <a:ext cx="4000485" cy="2000244"/>
          </a:xfrm>
          <a:prstGeom prst="rect">
            <a:avLst/>
          </a:prstGeom>
          <a:noFill/>
        </p:spPr>
      </p:pic>
      <p:pic>
        <p:nvPicPr>
          <p:cNvPr id="96276" name="Picture 20" descr="ÐÐ°ÑÑÐ¸Ð½ÐºÐ¸ Ð¿Ð¾ Ð·Ð°Ð¿ÑÐ¾ÑÑ dreamweaver"/>
          <p:cNvPicPr>
            <a:picLocks noChangeAspect="1" noChangeArrowheads="1"/>
          </p:cNvPicPr>
          <p:nvPr/>
        </p:nvPicPr>
        <p:blipFill>
          <a:blip r:embed="rId10"/>
          <a:srcRect l="9934" t="11921" r="24502" b="20529"/>
          <a:stretch>
            <a:fillRect/>
          </a:stretch>
        </p:blipFill>
        <p:spPr bwMode="auto">
          <a:xfrm>
            <a:off x="1333467" y="4009163"/>
            <a:ext cx="2857520" cy="2944112"/>
          </a:xfrm>
          <a:prstGeom prst="rect">
            <a:avLst/>
          </a:prstGeom>
          <a:noFill/>
        </p:spPr>
      </p:pic>
      <p:sp>
        <p:nvSpPr>
          <p:cNvPr id="96278" name="AutoShape 22" descr="ÐÐ°ÑÑÐ¸Ð½ÐºÐ¸ Ð¿Ð¾ Ð·Ð°Ð¿ÑÐ¾ÑÑ Sublime Text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6280" name="AutoShape 24" descr="ÐÐ°ÑÑÐ¸Ð½ÐºÐ¸ Ð¿Ð¾ Ð·Ð°Ð¿ÑÐ¾ÑÑ Sublime Text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110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3552" y="0"/>
            <a:ext cx="10128448" cy="1035373"/>
          </a:xfrm>
        </p:spPr>
        <p:txBody>
          <a:bodyPr/>
          <a:lstStyle/>
          <a:p>
            <a:r>
              <a:rPr lang="uk-UA" altLang="ko-KR" dirty="0" smtClean="0"/>
              <a:t>Означення</a:t>
            </a:r>
            <a:endParaRPr lang="ko-KR" altLang="en-US" dirty="0"/>
          </a:p>
        </p:txBody>
      </p:sp>
      <p:sp>
        <p:nvSpPr>
          <p:cNvPr id="3" name="Rectangle 2"/>
          <p:cNvSpPr/>
          <p:nvPr/>
        </p:nvSpPr>
        <p:spPr>
          <a:xfrm>
            <a:off x="2898176" y="2084851"/>
            <a:ext cx="2304000" cy="9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11957" y="2084851"/>
            <a:ext cx="2304000" cy="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525987" y="2084851"/>
            <a:ext cx="2304000" cy="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90724" y="2386926"/>
            <a:ext cx="3333773" cy="3950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latinLnBrk="1"/>
            <a:r>
              <a:rPr lang="en-US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HTML (</a:t>
            </a:r>
            <a:r>
              <a:rPr lang="ru-RU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англ. </a:t>
            </a:r>
            <a:r>
              <a:rPr lang="en-US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Hyper </a:t>
            </a:r>
            <a:endParaRPr lang="uk-UA" sz="1867" b="1" u="sng" dirty="0">
              <a:solidFill>
                <a:srgbClr val="92D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</a:endParaRPr>
          </a:p>
          <a:p>
            <a:pPr defTabSz="1219170" latinLnBrk="1"/>
            <a:r>
              <a:rPr lang="en-US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Text Markup Language — </a:t>
            </a:r>
            <a:r>
              <a:rPr lang="ru-RU" sz="1867" b="1" u="sng" dirty="0" err="1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мова</a:t>
            </a:r>
            <a:r>
              <a:rPr lang="ru-RU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 </a:t>
            </a:r>
            <a:r>
              <a:rPr lang="ru-RU" sz="1867" b="1" u="sng" dirty="0" err="1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розмітки</a:t>
            </a:r>
            <a:r>
              <a:rPr lang="ru-RU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867" b="1" u="sng" dirty="0" err="1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гіпертексту</a:t>
            </a:r>
            <a:r>
              <a:rPr lang="ru-RU" sz="1867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) </a:t>
            </a:r>
          </a:p>
          <a:p>
            <a:pPr defTabSz="1219170" latinLnBrk="1"/>
            <a:endParaRPr lang="ru-RU" sz="1600" dirty="0">
              <a:solidFill>
                <a:prstClr val="black"/>
              </a:solidFill>
              <a:latin typeface="Bookman Old Style" pitchFamily="18" charset="0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—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стандартна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мова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розмітк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документів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у</a:t>
            </a: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всесвітній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павутин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,</a:t>
            </a:r>
            <a:b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</a:b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яка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обробляється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спеціальним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програмам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(браузерами)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відображається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у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вигляд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документа у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зручній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для</a:t>
            </a: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людин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форм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.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</a:br>
            <a:endParaRPr lang="en-US" altLang="ko-KR" sz="1600" dirty="0">
              <a:solidFill>
                <a:prstClr val="black">
                  <a:lumMod val="75000"/>
                  <a:lumOff val="25000"/>
                </a:prstClr>
              </a:solidFill>
              <a:latin typeface="Bookman Old Style" pitchFamily="18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31116" y="2386928"/>
            <a:ext cx="285090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latinLnBrk="1"/>
            <a:r>
              <a:rPr lang="ru-RU" sz="3200" b="1" u="sng" dirty="0" err="1">
                <a:solidFill>
                  <a:srgbClr val="76B1D1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Гіпертекст</a:t>
            </a:r>
            <a:r>
              <a:rPr lang="ru-RU" sz="3200" b="1" u="sng" dirty="0">
                <a:solidFill>
                  <a:srgbClr val="76B1D1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</a:t>
            </a:r>
          </a:p>
          <a:p>
            <a:pPr defTabSz="1219170" latinLnBrk="1"/>
            <a:endParaRPr lang="ru-RU" sz="1600" dirty="0">
              <a:solidFill>
                <a:prstClr val="black"/>
              </a:solidFill>
              <a:latin typeface="Arial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—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електронний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документ,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який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містить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зв’язк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з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іншим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електронним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документами.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Так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зв’язк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називаються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Гіперпосиланням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.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Arial"/>
              </a:rPr>
            </a:br>
            <a:endParaRPr lang="en-US" altLang="ko-KR" sz="1600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33996" y="5251153"/>
            <a:ext cx="6572253" cy="1191816"/>
          </a:xfrm>
          <a:prstGeom prst="roundRect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1219170" latinLnBrk="1"/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HTML не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є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мовою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програмування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, вона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призначена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лише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для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розмітки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сторінки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,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надання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певного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вигляду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її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dirty="0" err="1">
                <a:solidFill>
                  <a:prstClr val="black"/>
                </a:solidFill>
                <a:latin typeface="Bookman Old Style" pitchFamily="18" charset="0"/>
              </a:rPr>
              <a:t>складовим</a:t>
            </a:r>
            <a:r>
              <a:rPr lang="ru-RU" sz="1600" dirty="0">
                <a:solidFill>
                  <a:prstClr val="black"/>
                </a:solidFill>
                <a:latin typeface="Bookman Old Style" pitchFamily="18" charset="0"/>
              </a:rPr>
              <a:t>.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Arial"/>
              </a:rPr>
            </a:br>
            <a:endParaRPr lang="en-US" altLang="ko-KR" sz="1600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cs typeface="Arial" pitchFamily="34" charset="0"/>
            </a:endParaRPr>
          </a:p>
        </p:txBody>
      </p:sp>
      <p:sp>
        <p:nvSpPr>
          <p:cNvPr id="68610" name="AutoShape 2" descr="ÐÐ°ÑÑÐ¸Ð½ÐºÐ¸ Ð¿Ð¾ Ð·Ð°Ð¿ÑÐ¾ÑÑ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8612" name="AutoShape 4" descr="ÐÐ°ÑÑÐ¸Ð½ÐºÐ¸ Ð¿Ð¾ Ð·Ð°Ð¿ÑÐ¾ÑÑ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68614" name="Picture 6" descr="ÐÐ°ÑÑÐ¸Ð½ÐºÐ¸ Ð¿Ð¾ Ð·Ð°Ð¿ÑÐ¾ÑÑ htm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24233" y="952485"/>
            <a:ext cx="1060435" cy="1060435"/>
          </a:xfrm>
          <a:prstGeom prst="rect">
            <a:avLst/>
          </a:prstGeom>
          <a:noFill/>
        </p:spPr>
      </p:pic>
      <p:pic>
        <p:nvPicPr>
          <p:cNvPr id="68616" name="Picture 8" descr="ÐÐ°ÑÑÐ¸Ð½ÐºÐ¸ Ð¿Ð¾ Ð·Ð°Ð¿ÑÐ¾ÑÑ hypertex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0248" y="1030887"/>
            <a:ext cx="2054741" cy="969355"/>
          </a:xfrm>
          <a:prstGeom prst="rect">
            <a:avLst/>
          </a:prstGeom>
          <a:noFill/>
        </p:spPr>
      </p:pic>
      <p:sp>
        <p:nvSpPr>
          <p:cNvPr id="68620" name="AutoShape 12" descr="ÐÐ°ÑÑÐ¸Ð½ÐºÐ¸ Ð¿Ð¾ Ð·Ð°Ð¿ÑÐ¾ÑÑ tag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8622" name="AutoShape 14" descr="ÐÐ°ÑÑÐ¸Ð½ÐºÐ¸ Ð¿Ð¾ Ð·Ð°Ð¿ÑÐ¾ÑÑ tag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8624" name="AutoShape 16" descr="ÐÐ°ÑÑÐ¸Ð½ÐºÐ¸ Ð¿Ð¾ Ð·Ð°Ð¿ÑÐ¾ÑÑ tag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8626" name="AutoShape 18" descr="ÐÐ°ÑÑÐ¸Ð½ÐºÐ¸ Ð¿Ð¾ Ð·Ð°Ð¿ÑÐ¾ÑÑ tag html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latinLnBrk="1"/>
            <a:endParaRPr lang="ru-RU" sz="2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68628" name="Picture 20" descr="Html tags icon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048772" y="952485"/>
            <a:ext cx="1060435" cy="1060435"/>
          </a:xfrm>
          <a:prstGeom prst="rect">
            <a:avLst/>
          </a:prstGeom>
          <a:noFill/>
        </p:spPr>
      </p:pic>
      <p:sp>
        <p:nvSpPr>
          <p:cNvPr id="22" name="TextBox 21"/>
          <p:cNvSpPr txBox="1"/>
          <p:nvPr/>
        </p:nvSpPr>
        <p:spPr>
          <a:xfrm>
            <a:off x="8382017" y="2381245"/>
            <a:ext cx="304802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latinLnBrk="1"/>
            <a:r>
              <a:rPr lang="ru-RU" sz="3200" b="1" u="sng" dirty="0">
                <a:solidFill>
                  <a:srgbClr val="F26D9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Теги  </a:t>
            </a:r>
          </a:p>
          <a:p>
            <a:pPr defTabSz="1219170" latinLnBrk="1"/>
            <a:endParaRPr lang="ru-RU" sz="1600" b="1" u="sng" dirty="0">
              <a:solidFill>
                <a:srgbClr val="76B1D1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—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команд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мов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HTML. </a:t>
            </a:r>
          </a:p>
          <a:p>
            <a:pPr defTabSz="1219170" latinLnBrk="1"/>
            <a:endParaRPr lang="ru-RU" sz="1600" b="1" dirty="0">
              <a:solidFill>
                <a:prstClr val="black"/>
              </a:solidFill>
              <a:latin typeface="Bookman Old Style" pitchFamily="18" charset="0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HTML-теги —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це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ключов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слова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або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символи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,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як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записуються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в </a:t>
            </a:r>
            <a:r>
              <a:rPr lang="ru-RU" sz="1600" b="1" dirty="0" err="1">
                <a:solidFill>
                  <a:prstClr val="black"/>
                </a:solidFill>
                <a:latin typeface="Bookman Old Style" pitchFamily="18" charset="0"/>
              </a:rPr>
              <a:t>кутові</a:t>
            </a:r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 </a:t>
            </a: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  <a:t>дужки.</a:t>
            </a:r>
            <a:br>
              <a:rPr lang="ru-RU" sz="1600" b="1" dirty="0">
                <a:solidFill>
                  <a:prstClr val="black"/>
                </a:solidFill>
                <a:latin typeface="Bookman Old Style" pitchFamily="18" charset="0"/>
              </a:rPr>
            </a:br>
            <a:r>
              <a:rPr lang="ru-RU" sz="1600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Arial"/>
              </a:rPr>
            </a:br>
            <a:endParaRPr lang="en-US" altLang="ko-KR" sz="1600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4190987" y="6000768"/>
            <a:ext cx="1143008" cy="28575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8452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/>
        </p:nvGraphicFramePr>
        <p:xfrm>
          <a:off x="6000751" y="190477"/>
          <a:ext cx="5969013" cy="4572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04971" y="4857760"/>
            <a:ext cx="96203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ru-RU" sz="4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 Black" pitchFamily="34" charset="0"/>
              </a:rPr>
              <a:t>Тег </a:t>
            </a:r>
            <a:r>
              <a:rPr lang="ru-RU" sz="48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 Black" pitchFamily="34" charset="0"/>
              </a:rPr>
              <a:t>записують так</a:t>
            </a:r>
            <a:r>
              <a:rPr lang="ru-RU" sz="4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 Black" pitchFamily="34" charset="0"/>
              </a:rPr>
              <a:t>:</a:t>
            </a:r>
            <a:r>
              <a:rPr lang="ru-RU" sz="5333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5333" dirty="0">
                <a:solidFill>
                  <a:prstClr val="black"/>
                </a:solidFill>
                <a:latin typeface="Arial"/>
              </a:rPr>
            </a:br>
            <a:r>
              <a:rPr lang="ru-RU" sz="4800" b="1" dirty="0">
                <a:solidFill>
                  <a:prstClr val="black"/>
                </a:solidFill>
                <a:latin typeface="Arial Black" pitchFamily="34" charset="0"/>
              </a:rPr>
              <a:t>&lt;Тег&gt;…текст… &lt;/Тег&gt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19219" y="666731"/>
            <a:ext cx="428628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en-US" sz="2400" b="1" dirty="0">
                <a:solidFill>
                  <a:prstClr val="black"/>
                </a:solidFill>
                <a:latin typeface="Cambria" pitchFamily="18" charset="0"/>
              </a:rPr>
              <a:t>HTML-</a:t>
            </a:r>
            <a:r>
              <a:rPr lang="ru-RU" sz="2400" b="1" dirty="0">
                <a:solidFill>
                  <a:prstClr val="black"/>
                </a:solidFill>
                <a:latin typeface="Cambria" pitchFamily="18" charset="0"/>
              </a:rPr>
              <a:t>код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,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набір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тегів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,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який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казує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браузеру, як</a:t>
            </a:r>
            <a:br>
              <a:rPr lang="ru-RU" sz="2400" dirty="0">
                <a:solidFill>
                  <a:prstClr val="black"/>
                </a:solidFill>
                <a:latin typeface="Cambria" pitchFamily="18" charset="0"/>
              </a:rPr>
            </a:b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ідображатиметься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елемент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сторінки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.</a:t>
            </a:r>
            <a:br>
              <a:rPr lang="ru-RU" sz="2400" dirty="0">
                <a:solidFill>
                  <a:prstClr val="black"/>
                </a:solidFill>
                <a:latin typeface="Cambria" pitchFamily="18" charset="0"/>
              </a:rPr>
            </a:br>
            <a:r>
              <a:rPr lang="ru-RU" sz="2400" b="1" dirty="0" err="1">
                <a:solidFill>
                  <a:prstClr val="black"/>
                </a:solidFill>
                <a:latin typeface="Cambria" pitchFamily="18" charset="0"/>
              </a:rPr>
              <a:t>Назва</a:t>
            </a:r>
            <a:r>
              <a:rPr lang="ru-RU" sz="2400" b="1" dirty="0">
                <a:solidFill>
                  <a:prstClr val="black"/>
                </a:solidFill>
                <a:latin typeface="Cambria" pitchFamily="18" charset="0"/>
              </a:rPr>
              <a:t> кожного тега 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–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це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</a:p>
          <a:p>
            <a:pPr defTabSz="1219170" latinLnBrk="1"/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одна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або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декілька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літер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, </a:t>
            </a:r>
          </a:p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зятих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у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кутов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дужки (&lt;,&gt;),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яким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відповідають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певн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</a:p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англійські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слова,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що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/>
            </a:r>
            <a:br>
              <a:rPr lang="ru-RU" sz="2400" dirty="0">
                <a:solidFill>
                  <a:prstClr val="black"/>
                </a:solidFill>
                <a:latin typeface="Cambria" pitchFamily="18" charset="0"/>
              </a:rPr>
            </a:b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пояснюють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їх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Cambria" pitchFamily="18" charset="0"/>
              </a:rPr>
              <a:t>призначення</a:t>
            </a:r>
            <a:r>
              <a:rPr lang="ru-RU" sz="2400" dirty="0">
                <a:solidFill>
                  <a:prstClr val="black"/>
                </a:solidFill>
                <a:latin typeface="Cambria" pitchFamily="18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91791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Теги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190723" y="1238235"/>
            <a:ext cx="9715568" cy="156966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1219170" latinLnBrk="1"/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Один тег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може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мати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кілька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араметрів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–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атрибутів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. </a:t>
            </a:r>
          </a:p>
          <a:p>
            <a:pPr defTabSz="1219170" latinLnBrk="1"/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Закриваючий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тег не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містить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жодних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араметрів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,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лише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оказує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на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місце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закінчення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дії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контейнера. </a:t>
            </a:r>
          </a:p>
          <a:p>
            <a:pPr defTabSz="1219170" latinLnBrk="1"/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У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відкриваючому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тегу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вказують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всі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необхідні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араметри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.</a:t>
            </a:r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2"/>
          <a:srcRect l="23060" t="35027" r="24780" b="24794"/>
          <a:stretch>
            <a:fillRect/>
          </a:stretch>
        </p:blipFill>
        <p:spPr bwMode="auto">
          <a:xfrm>
            <a:off x="2666977" y="2952747"/>
            <a:ext cx="9048813" cy="3714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148970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/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3200" dirty="0">
                <a:solidFill>
                  <a:srgbClr val="00AE9D"/>
                </a:solidFill>
                <a:latin typeface="Raleway"/>
                <a:ea typeface="Raleway"/>
                <a:cs typeface="Raleway"/>
                <a:sym typeface="Karla"/>
              </a:rPr>
              <a:t>https://www.internetlivestats.com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Цікава інтернет статистика</a:t>
            </a:r>
            <a:endParaRPr lang="uk-UA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10858" t="10000" r="16782" b="15991"/>
          <a:stretch/>
        </p:blipFill>
        <p:spPr>
          <a:xfrm>
            <a:off x="3894025" y="977348"/>
            <a:ext cx="4195201" cy="260752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44466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2"/>
          <a:srcRect l="16471" t="29297" r="33565" b="15039"/>
          <a:stretch>
            <a:fillRect/>
          </a:stretch>
        </p:blipFill>
        <p:spPr bwMode="auto">
          <a:xfrm>
            <a:off x="190459" y="285730"/>
            <a:ext cx="7451276" cy="46672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9634" name="Picture 2" descr="View in Browser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8746" y="3047997"/>
            <a:ext cx="6445239" cy="3664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477268" y="190477"/>
            <a:ext cx="2952771" cy="28293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19425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/>
          <a:srcRect l="14824" t="13448" r="35212" b="61724"/>
          <a:stretch>
            <a:fillRect/>
          </a:stretch>
        </p:blipFill>
        <p:spPr bwMode="auto">
          <a:xfrm>
            <a:off x="1" y="1238237"/>
            <a:ext cx="12192000" cy="3810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Структура </a:t>
            </a:r>
            <a:r>
              <a:rPr lang="en-US" dirty="0" smtClean="0"/>
              <a:t>HTML</a:t>
            </a:r>
            <a:r>
              <a:rPr lang="uk-UA" dirty="0" err="1" smtClean="0"/>
              <a:t>-документ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149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2"/>
          <a:srcRect l="17570" t="19574" r="17093" b="9340"/>
          <a:stretch>
            <a:fillRect/>
          </a:stretch>
        </p:blipFill>
        <p:spPr bwMode="auto">
          <a:xfrm>
            <a:off x="381003" y="2"/>
            <a:ext cx="11811040" cy="684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414770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2"/>
          <a:srcRect l="23609" t="19574" r="23133" b="10371"/>
          <a:stretch>
            <a:fillRect/>
          </a:stretch>
        </p:blipFill>
        <p:spPr bwMode="auto">
          <a:xfrm>
            <a:off x="2504560" y="0"/>
            <a:ext cx="978273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21764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rcRect r="59962" b="60828"/>
          <a:stretch/>
        </p:blipFill>
        <p:spPr>
          <a:xfrm>
            <a:off x="6668222" y="3299557"/>
            <a:ext cx="4702881" cy="258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 noEditPoint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uk-UA" sz="5400" dirty="0" smtClean="0"/>
              <a:t>Структура </a:t>
            </a:r>
            <a:r>
              <a:rPr lang="en-US" sz="5400" dirty="0" smtClean="0"/>
              <a:t>HTML</a:t>
            </a:r>
            <a:r>
              <a:rPr lang="uk-UA" sz="5400" dirty="0" smtClean="0"/>
              <a:t>-файлу</a:t>
            </a:r>
            <a:endParaRPr lang="en-IN" sz="5400" b="0" dirty="0"/>
          </a:p>
        </p:txBody>
      </p:sp>
      <p:pic>
        <p:nvPicPr>
          <p:cNvPr id="1026" name="Picture 2" descr="Transparent Boy Transparent &amp; PNG Clipart Free Download - YWD"/>
          <p:cNvPicPr>
            <a:picLocks noChangeAspect="1" noChangeArrowheads="1"/>
          </p:cNvPicPr>
          <p:nvPr/>
        </p:nvPicPr>
        <p:blipFill>
          <a:blip r:embed="rId4"/>
          <a:srcRect l="31140" r="28637"/>
          <a:stretch/>
        </p:blipFill>
        <p:spPr bwMode="auto">
          <a:xfrm>
            <a:off x="623275" y="1447703"/>
            <a:ext cx="1785589" cy="4438058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2070525" y="895655"/>
            <a:ext cx="1445815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html&gt;</a:t>
            </a:r>
            <a:endParaRPr lang="ru-RU" sz="3200" b="1" cap="none" spc="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66731" y="6274383"/>
            <a:ext cx="1565645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/html&gt;</a:t>
            </a:r>
            <a:endParaRPr lang="ru-RU" sz="3200" b="1" cap="none" spc="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52343" y="1190403"/>
            <a:ext cx="1487051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head&gt;</a:t>
            </a:r>
            <a:endParaRPr lang="ru-RU" sz="3200" b="1" cap="none" spc="0" dirty="0"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48549" y="2772220"/>
            <a:ext cx="1606883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/head&gt;</a:t>
            </a:r>
            <a:endParaRPr lang="ru-RU" sz="3200" b="1" cap="none" spc="0" dirty="0"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962822" y="3348284"/>
            <a:ext cx="1502924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body&gt;</a:t>
            </a:r>
            <a:endParaRPr lang="ru-RU" sz="3200" b="1" cap="none" spc="0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959026" y="5824655"/>
            <a:ext cx="1622755" cy="58097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/body&gt;</a:t>
            </a:r>
            <a:endParaRPr lang="ru-RU" sz="3200" b="1" cap="none" spc="0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477912" y="1340768"/>
            <a:ext cx="1980516" cy="198000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Прямоугольник 4"/>
          <p:cNvSpPr/>
          <p:nvPr/>
        </p:nvSpPr>
        <p:spPr>
          <a:xfrm>
            <a:off x="189805" y="3320768"/>
            <a:ext cx="2603626" cy="2772528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3" name="Прямоугольник 12"/>
          <p:cNvSpPr/>
          <p:nvPr/>
        </p:nvSpPr>
        <p:spPr>
          <a:xfrm>
            <a:off x="3581609" y="1584017"/>
            <a:ext cx="838691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cap="none" spc="0" dirty="0" smtClean="0">
                <a:ln w="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title&gt;</a:t>
            </a:r>
            <a:endParaRPr lang="ru-RU" b="1" cap="none" spc="0" dirty="0">
              <a:ln w="0">
                <a:solidFill>
                  <a:schemeClr val="accent3">
                    <a:lumMod val="60000"/>
                    <a:lumOff val="40000"/>
                  </a:schemeClr>
                </a:solidFill>
              </a:ln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79013" y="2449705"/>
            <a:ext cx="906017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cap="none" spc="0" dirty="0" smtClean="0">
                <a:ln w="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lt;/title&gt;</a:t>
            </a:r>
            <a:endParaRPr lang="ru-RU" b="1" cap="none" spc="0" dirty="0">
              <a:ln w="0">
                <a:solidFill>
                  <a:schemeClr val="accent3">
                    <a:lumMod val="60000"/>
                    <a:lumOff val="40000"/>
                  </a:schemeClr>
                </a:solidFill>
              </a:ln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638683" y="1930350"/>
            <a:ext cx="2768194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i="1" dirty="0" err="1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зва</a:t>
            </a:r>
            <a:r>
              <a:rPr lang="ru-RU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ru-RU" i="1" dirty="0" err="1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ікна</a:t>
            </a:r>
            <a:r>
              <a:rPr lang="ru-RU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d-</a:t>
            </a:r>
            <a:r>
              <a:rPr lang="uk-UA" i="1" dirty="0" err="1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торінк</a:t>
            </a:r>
            <a:r>
              <a:rPr lang="ru-RU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</a:t>
            </a:r>
            <a:endParaRPr lang="ru-RU" b="0" i="1" cap="none" spc="0" dirty="0"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650476" y="4623519"/>
            <a:ext cx="2229585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i="1" dirty="0" err="1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міст</a:t>
            </a:r>
            <a:r>
              <a:rPr lang="ru-RU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i="1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b-</a:t>
            </a:r>
            <a:r>
              <a:rPr lang="ru-RU" i="1" dirty="0" err="1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торінки</a:t>
            </a:r>
            <a:endParaRPr lang="ru-RU" b="0" i="1" cap="none" spc="0" dirty="0"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Rectangle 25"/>
          <p:cNvSpPr/>
          <p:nvPr/>
        </p:nvSpPr>
        <p:spPr>
          <a:xfrm>
            <a:off x="11498007" y="3"/>
            <a:ext cx="693994" cy="6888121"/>
          </a:xfrm>
          <a:prstGeom prst="rect">
            <a:avLst/>
          </a:prstGeom>
          <a:ln>
            <a:noFill/>
          </a:ln>
          <a:effectLst>
            <a:innerShdw blurRad="800100">
              <a:prstClr val="black">
                <a:alpha val="3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8" name="Picture 2" descr="Компьютер - Png картинки и иконки без фон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020390" y="5301208"/>
            <a:ext cx="1443653" cy="1332626"/>
          </a:xfrm>
          <a:prstGeom prst="rect">
            <a:avLst/>
          </a:prstGeom>
          <a:noFill/>
        </p:spPr>
      </p:pic>
      <p:sp>
        <p:nvSpPr>
          <p:cNvPr id="11" name="Скругленная прямоугольная выноска 10"/>
          <p:cNvSpPr/>
          <p:nvPr/>
        </p:nvSpPr>
        <p:spPr>
          <a:xfrm>
            <a:off x="7415224" y="1365032"/>
            <a:ext cx="2635844" cy="796150"/>
          </a:xfrm>
          <a:prstGeom prst="wedgeRoundRectCallout">
            <a:avLst>
              <a:gd name="adj1" fmla="val -40906"/>
              <a:gd name="adj2" fmla="val 209671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Заголовок документа, </a:t>
            </a:r>
            <a:r>
              <a:rPr lang="ru-RU" sz="1600" dirty="0" err="1" smtClean="0"/>
              <a:t>вміщений</a:t>
            </a:r>
            <a:r>
              <a:rPr lang="ru-RU" sz="1600" dirty="0" smtClean="0"/>
              <a:t> у контейнер </a:t>
            </a:r>
            <a:r>
              <a:rPr lang="en-US" sz="1600" dirty="0" smtClean="0"/>
              <a:t>TITLE</a:t>
            </a:r>
            <a:endParaRPr lang="uk-UA" sz="1600" dirty="0"/>
          </a:p>
        </p:txBody>
      </p:sp>
      <p:sp>
        <p:nvSpPr>
          <p:cNvPr id="20" name="Скругленная прямоугольная выноска 19"/>
          <p:cNvSpPr/>
          <p:nvPr/>
        </p:nvSpPr>
        <p:spPr>
          <a:xfrm>
            <a:off x="6988759" y="6022637"/>
            <a:ext cx="2635844" cy="796150"/>
          </a:xfrm>
          <a:prstGeom prst="wedgeRoundRectCallout">
            <a:avLst>
              <a:gd name="adj1" fmla="val -45049"/>
              <a:gd name="adj2" fmla="val -237740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1600" dirty="0" smtClean="0"/>
              <a:t>Вміст</a:t>
            </a:r>
            <a:r>
              <a:rPr lang="ru-RU" sz="1600" dirty="0" smtClean="0"/>
              <a:t>, включений у контейнер </a:t>
            </a:r>
            <a:r>
              <a:rPr lang="en-US" sz="1600" dirty="0" smtClean="0"/>
              <a:t>BODY</a:t>
            </a:r>
            <a:endParaRPr lang="uk-UA" sz="1600" dirty="0"/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8772356" y="2330768"/>
            <a:ext cx="2635844" cy="796150"/>
          </a:xfrm>
          <a:prstGeom prst="wedgeRoundRectCallout">
            <a:avLst>
              <a:gd name="adj1" fmla="val -36245"/>
              <a:gd name="adj2" fmla="val 118817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1600" dirty="0" smtClean="0"/>
              <a:t>Адреса та назва </a:t>
            </a:r>
            <a:r>
              <a:rPr lang="uk-UA" sz="1600" dirty="0" err="1" smtClean="0"/>
              <a:t>файла</a:t>
            </a:r>
            <a:endParaRPr lang="uk-UA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8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8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8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8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8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8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8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8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8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  <p:bldP spid="9" grpId="0"/>
      <p:bldP spid="10" grpId="0"/>
      <p:bldP spid="13" grpId="0"/>
      <p:bldP spid="14" grpId="0"/>
      <p:bldP spid="15" grpId="0"/>
      <p:bldP spid="16" grpId="0"/>
      <p:bldP spid="11" grpId="0" animBg="1"/>
      <p:bldP spid="20" grpId="0" animBg="1"/>
      <p:bldP spid="2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 noEditPoints="1"/>
          </p:cNvSpPr>
          <p:nvPr>
            <p:ph type="title"/>
          </p:nvPr>
        </p:nvSpPr>
        <p:spPr>
          <a:xfrm>
            <a:off x="549941" y="1484788"/>
            <a:ext cx="10972801" cy="711081"/>
          </a:xfrm>
        </p:spPr>
        <p:txBody>
          <a:bodyPr>
            <a:noAutofit/>
          </a:bodyPr>
          <a:lstStyle/>
          <a:p>
            <a:r>
              <a:rPr lang="uk-UA" sz="11500" dirty="0" smtClean="0">
                <a:solidFill>
                  <a:schemeClr val="accent4">
                    <a:lumMod val="75000"/>
                  </a:schemeClr>
                </a:solidFill>
              </a:rPr>
              <a:t>Практична робота</a:t>
            </a:r>
            <a:endParaRPr lang="uk-UA" sz="115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4" name="Рисунок 3" descr="kisspng-front-end-web-development-web-developer-front-and-developer-5ad00d74750247.5716044915235843724793.png"/>
          <p:cNvPicPr>
            <a:picLocks noChangeAspect="1"/>
          </p:cNvPicPr>
          <p:nvPr/>
        </p:nvPicPr>
        <p:blipFill>
          <a:blip r:embed="rId3" cstate="print"/>
          <a:srcRect b="16317"/>
          <a:stretch>
            <a:fillRect/>
          </a:stretch>
        </p:blipFill>
        <p:spPr>
          <a:xfrm>
            <a:off x="2119548" y="2991273"/>
            <a:ext cx="7233000" cy="38667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accent4">
                    <a:lumMod val="75000"/>
                  </a:schemeClr>
                </a:solidFill>
              </a:rPr>
              <a:t>Алгоритм </a:t>
            </a:r>
            <a:r>
              <a:rPr lang="uk-UA" dirty="0">
                <a:solidFill>
                  <a:schemeClr val="accent4">
                    <a:lumMod val="75000"/>
                  </a:schemeClr>
                </a:solidFill>
              </a:rPr>
              <a:t>виконання практичної роботи: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>
          <a:xfrm>
            <a:off x="609602" y="897256"/>
            <a:ext cx="10940714" cy="977900"/>
          </a:xfrm>
          <a:prstGeom prst="rect">
            <a:avLst/>
          </a:prstGeom>
        </p:spPr>
        <p:txBody>
          <a:bodyPr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0" indent="-381000">
              <a:lnSpc>
                <a:spcPct val="80000"/>
              </a:lnSpc>
              <a:buClr>
                <a:schemeClr val="tx1"/>
              </a:buClr>
              <a:buFont typeface="Wingdings" pitchFamily="2" charset="2"/>
              <a:buAutoNum type="arabicPeriod"/>
            </a:pP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Відкрийте редактор Блокнот.</a:t>
            </a:r>
          </a:p>
          <a:p>
            <a:pPr marL="381000" indent="-381000">
              <a:lnSpc>
                <a:spcPct val="80000"/>
              </a:lnSpc>
              <a:buClr>
                <a:schemeClr val="tx1"/>
              </a:buClr>
              <a:buFont typeface="Wingdings" pitchFamily="2" charset="2"/>
              <a:buAutoNum type="arabicPeriod"/>
            </a:pP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Створіть за допомогою текстового редактора файл за зразком. </a:t>
            </a:r>
            <a:endParaRPr lang="ru-RU" sz="2800" dirty="0">
              <a:latin typeface="Times New Roman" pitchFamily="18" charset="0"/>
              <a:ea typeface="Academia Libera" pitchFamily="18" charset="0"/>
              <a:cs typeface="Times New Roman" pitchFamily="18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4217070" y="1716505"/>
            <a:ext cx="7269077" cy="3918379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uk-UA" sz="2800" dirty="0">
                <a:solidFill>
                  <a:sysClr val="windowText" lastClr="000000"/>
                </a:solidFill>
              </a:rPr>
              <a:t>&lt;HTML&gt;</a:t>
            </a:r>
            <a:endParaRPr lang="ru-RU" sz="2800" dirty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>
                <a:solidFill>
                  <a:sysClr val="windowText" lastClr="000000"/>
                </a:solidFill>
              </a:rPr>
              <a:t>&lt;HEAD&gt;</a:t>
            </a:r>
            <a:endParaRPr lang="ru-RU" sz="2800" dirty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 smtClean="0">
                <a:solidFill>
                  <a:sysClr val="windowText" lastClr="000000"/>
                </a:solidFill>
              </a:rPr>
              <a:t>&lt;</a:t>
            </a:r>
            <a:r>
              <a:rPr lang="uk-UA" sz="2800" dirty="0">
                <a:solidFill>
                  <a:sysClr val="windowText" lastClr="000000"/>
                </a:solidFill>
              </a:rPr>
              <a:t>TITLE&gt; </a:t>
            </a:r>
            <a:r>
              <a:rPr lang="uk-UA" sz="2800" dirty="0" err="1" smtClean="0">
                <a:solidFill>
                  <a:sysClr val="windowText" lastClr="000000"/>
                </a:solidFill>
              </a:rPr>
              <a:t>My</a:t>
            </a:r>
            <a:r>
              <a:rPr lang="uk-UA" sz="2800" dirty="0" smtClean="0">
                <a:solidFill>
                  <a:sysClr val="windowText" lastClr="000000"/>
                </a:solidFill>
              </a:rPr>
              <a:t> Web-</a:t>
            </a:r>
            <a:r>
              <a:rPr lang="uk-UA" sz="2800" dirty="0" err="1" smtClean="0">
                <a:solidFill>
                  <a:sysClr val="windowText" lastClr="000000"/>
                </a:solidFill>
              </a:rPr>
              <a:t>page</a:t>
            </a:r>
            <a:r>
              <a:rPr lang="uk-UA" sz="2800" dirty="0" smtClean="0">
                <a:solidFill>
                  <a:sysClr val="windowText" lastClr="000000"/>
                </a:solidFill>
              </a:rPr>
              <a:t> </a:t>
            </a:r>
            <a:r>
              <a:rPr lang="uk-UA" sz="2800" dirty="0">
                <a:solidFill>
                  <a:sysClr val="windowText" lastClr="000000"/>
                </a:solidFill>
              </a:rPr>
              <a:t>&lt;/TITLE&gt;</a:t>
            </a:r>
            <a:endParaRPr lang="ru-RU" sz="2800" dirty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>
                <a:solidFill>
                  <a:sysClr val="windowText" lastClr="000000"/>
                </a:solidFill>
              </a:rPr>
              <a:t>&lt;/HEAD&gt;</a:t>
            </a:r>
            <a:endParaRPr lang="ru-RU" sz="2800" dirty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>
                <a:solidFill>
                  <a:sysClr val="windowText" lastClr="000000"/>
                </a:solidFill>
              </a:rPr>
              <a:t>&lt;BODY</a:t>
            </a:r>
            <a:r>
              <a:rPr lang="uk-UA" sz="2800" dirty="0" smtClean="0">
                <a:solidFill>
                  <a:sysClr val="windowText" lastClr="000000"/>
                </a:solidFill>
              </a:rPr>
              <a:t>&gt;</a:t>
            </a:r>
          </a:p>
          <a:p>
            <a:pPr eaLnBrk="1" hangingPunct="1"/>
            <a:r>
              <a:rPr lang="uk-UA" sz="2800" dirty="0" smtClean="0">
                <a:solidFill>
                  <a:sysClr val="windowText" lastClr="000000"/>
                </a:solidFill>
              </a:rPr>
              <a:t>Моя перша Web-сторінка</a:t>
            </a:r>
            <a:endParaRPr lang="ru-RU" sz="2800" dirty="0" smtClean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 smtClean="0">
                <a:solidFill>
                  <a:sysClr val="windowText" lastClr="000000"/>
                </a:solidFill>
              </a:rPr>
              <a:t>&lt;/</a:t>
            </a:r>
            <a:r>
              <a:rPr lang="uk-UA" sz="2800" dirty="0">
                <a:solidFill>
                  <a:sysClr val="windowText" lastClr="000000"/>
                </a:solidFill>
              </a:rPr>
              <a:t>BODY&gt;</a:t>
            </a:r>
            <a:endParaRPr lang="ru-RU" sz="2800" dirty="0">
              <a:solidFill>
                <a:sysClr val="windowText" lastClr="000000"/>
              </a:solidFill>
            </a:endParaRPr>
          </a:p>
          <a:p>
            <a:pPr eaLnBrk="1" hangingPunct="1"/>
            <a:r>
              <a:rPr lang="uk-UA" sz="2800" dirty="0">
                <a:solidFill>
                  <a:sysClr val="windowText" lastClr="000000"/>
                </a:solidFill>
              </a:rPr>
              <a:t>&lt;/HTML&gt;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20842" y="5614737"/>
            <a:ext cx="11871158" cy="109855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218987"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</a:pP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3. 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Збережіть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файл (</a:t>
            </a:r>
            <a:r>
              <a:rPr lang="uk-UA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Файл</a:t>
            </a:r>
            <a:r>
              <a:rPr lang="uk-UA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Сохранить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 </a:t>
            </a:r>
            <a:r>
              <a:rPr lang="uk-UA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как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…) у власній папці з назвою </a:t>
            </a:r>
            <a:r>
              <a:rPr lang="en-US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Practic1.html</a:t>
            </a:r>
            <a:endParaRPr lang="uk-UA" sz="2800" dirty="0">
              <a:latin typeface="Times New Roman" pitchFamily="18" charset="0"/>
              <a:ea typeface="Academia Libera" pitchFamily="18" charset="0"/>
              <a:cs typeface="Times New Roman" pitchFamily="18" charset="0"/>
              <a:sym typeface="Wingdings" pitchFamily="2" charset="2"/>
            </a:endParaRPr>
          </a:p>
          <a:p>
            <a:pPr defTabSz="1218987"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</a:pP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4. 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Перегляньте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файл за допомогою браузера</a:t>
            </a:r>
            <a:r>
              <a:rPr lang="uk-UA" sz="2800" dirty="0"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.</a:t>
            </a:r>
          </a:p>
        </p:txBody>
      </p:sp>
      <p:pic>
        <p:nvPicPr>
          <p:cNvPr id="7" name="Рисунок 6" descr="kisspng-web-development-web-application-security-software-developer-5ad0298ce09990.2024651815235915649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13768"/>
            <a:ext cx="4716379" cy="39287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accent4">
                    <a:lumMod val="75000"/>
                  </a:schemeClr>
                </a:solidFill>
              </a:rPr>
              <a:t>Алгоритм </a:t>
            </a:r>
            <a:r>
              <a:rPr lang="uk-UA" dirty="0">
                <a:solidFill>
                  <a:schemeClr val="accent4">
                    <a:lumMod val="75000"/>
                  </a:schemeClr>
                </a:solidFill>
              </a:rPr>
              <a:t>виконання практичної роботи: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>
          <a:xfrm>
            <a:off x="609602" y="897256"/>
            <a:ext cx="9622791" cy="587528"/>
          </a:xfrm>
          <a:prstGeom prst="rect">
            <a:avLst/>
          </a:prstGeom>
        </p:spPr>
        <p:txBody>
          <a:bodyPr>
            <a:norm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0" indent="-381000">
              <a:lnSpc>
                <a:spcPct val="80000"/>
              </a:lnSpc>
              <a:buClr>
                <a:schemeClr val="tx1"/>
              </a:buClr>
              <a:buNone/>
            </a:pPr>
            <a:r>
              <a:rPr lang="uk-UA" sz="2400" dirty="0"/>
              <a:t>5. 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Змініть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початковий  файл (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внесіть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зміни за зразком). 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</a:t>
            </a:r>
            <a:endParaRPr lang="ru-RU" sz="2800" dirty="0">
              <a:latin typeface="Times New Roman" pitchFamily="18" charset="0"/>
              <a:ea typeface="Academia Libera" pitchFamily="18" charset="0"/>
              <a:cs typeface="Times New Roman" pitchFamily="18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692885" y="5163166"/>
            <a:ext cx="11283142" cy="13579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6. Збережіть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зміни та п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ерегляньте файл за допомогою браузера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. </a:t>
            </a:r>
          </a:p>
          <a:p>
            <a:pPr eaLnBrk="1" hangingPunct="1">
              <a:spcBef>
                <a:spcPct val="20000"/>
              </a:spcBef>
              <a:buClr>
                <a:schemeClr val="tx1"/>
              </a:buClr>
            </a:pP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  <a:sym typeface="Wingdings" pitchFamily="2" charset="2"/>
              </a:rPr>
              <a:t>7. 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Проекспериментуйте 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з тегами форматування тексту та надайте своїй сторінці якнайліпшого вигляду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endParaRPr lang="uk-UA" dirty="0">
              <a:latin typeface="+mj-lt"/>
              <a:sym typeface="Wingdings" pitchFamily="2" charset="2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240230" y="1378929"/>
            <a:ext cx="8594010" cy="3850275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HTML&gt;</a:t>
            </a:r>
          </a:p>
          <a:p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HEAD&gt;</a:t>
            </a:r>
          </a:p>
          <a:p>
            <a:r>
              <a:rPr lang="uk-UA" sz="2000" b="1" dirty="0" smtClean="0">
                <a:solidFill>
                  <a:sysClr val="windowText" lastClr="000000"/>
                </a:solidFill>
                <a:latin typeface="Arial" pitchFamily="34" charset="0"/>
              </a:rPr>
              <a:t>&lt;</a:t>
            </a:r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TITLE&gt; </a:t>
            </a:r>
            <a:r>
              <a:rPr lang="uk-UA" sz="2000" b="1" dirty="0" err="1">
                <a:solidFill>
                  <a:sysClr val="windowText" lastClr="000000"/>
                </a:solidFill>
                <a:latin typeface="Arial" pitchFamily="34" charset="0"/>
              </a:rPr>
              <a:t>My</a:t>
            </a:r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 </a:t>
            </a:r>
            <a:r>
              <a:rPr lang="uk-UA" sz="2000" b="1" dirty="0" smtClean="0">
                <a:solidFill>
                  <a:sysClr val="windowText" lastClr="000000"/>
                </a:solidFill>
                <a:latin typeface="Arial" pitchFamily="34" charset="0"/>
              </a:rPr>
              <a:t>Web-</a:t>
            </a:r>
            <a:r>
              <a:rPr lang="uk-UA" sz="2000" b="1" dirty="0" err="1" smtClean="0">
                <a:solidFill>
                  <a:sysClr val="windowText" lastClr="000000"/>
                </a:solidFill>
                <a:latin typeface="Arial" pitchFamily="34" charset="0"/>
              </a:rPr>
              <a:t>page</a:t>
            </a:r>
            <a:r>
              <a:rPr lang="uk-UA" sz="2000" b="1" dirty="0" smtClean="0">
                <a:solidFill>
                  <a:sysClr val="windowText" lastClr="000000"/>
                </a:solidFill>
                <a:latin typeface="Arial" pitchFamily="34" charset="0"/>
              </a:rPr>
              <a:t> </a:t>
            </a:r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/TITLE&gt;</a:t>
            </a:r>
          </a:p>
          <a:p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/HEAD&gt;</a:t>
            </a:r>
          </a:p>
          <a:p>
            <a:r>
              <a:rPr lang="uk-UA" sz="2000" b="1" dirty="0">
                <a:solidFill>
                  <a:srgbClr val="002060"/>
                </a:solidFill>
                <a:latin typeface="Arial" pitchFamily="34" charset="0"/>
              </a:rPr>
              <a:t>&lt;BODY BGCOLOR="</a:t>
            </a:r>
            <a:r>
              <a:rPr lang="uk-UA" sz="2000" b="1" dirty="0" err="1">
                <a:solidFill>
                  <a:srgbClr val="002060"/>
                </a:solidFill>
                <a:latin typeface="Arial" pitchFamily="34" charset="0"/>
              </a:rPr>
              <a:t>Purple</a:t>
            </a:r>
            <a:r>
              <a:rPr lang="uk-UA" sz="2000" b="1" dirty="0">
                <a:solidFill>
                  <a:srgbClr val="002060"/>
                </a:solidFill>
                <a:latin typeface="Arial" pitchFamily="34" charset="0"/>
              </a:rPr>
              <a:t>" </a:t>
            </a:r>
            <a:r>
              <a:rPr lang="uk-UA" sz="2000" b="1" dirty="0" err="1">
                <a:solidFill>
                  <a:srgbClr val="002060"/>
                </a:solidFill>
                <a:latin typeface="Arial" pitchFamily="34" charset="0"/>
              </a:rPr>
              <a:t>text=</a:t>
            </a:r>
            <a:r>
              <a:rPr lang="uk-UA" sz="2000" b="1" dirty="0">
                <a:solidFill>
                  <a:srgbClr val="002060"/>
                </a:solidFill>
                <a:latin typeface="Arial" pitchFamily="34" charset="0"/>
              </a:rPr>
              <a:t>"#FF00FF</a:t>
            </a:r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"&gt;</a:t>
            </a:r>
          </a:p>
          <a:p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&lt;</a:t>
            </a:r>
            <a:r>
              <a:rPr lang="uk-UA" sz="2000" b="1" dirty="0" err="1" smtClean="0">
                <a:solidFill>
                  <a:srgbClr val="002060"/>
                </a:solidFill>
                <a:latin typeface="Arial" pitchFamily="34" charset="0"/>
              </a:rPr>
              <a:t>center</a:t>
            </a:r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&gt; &lt;H1&gt; Моя перша Web-сторінка&lt;/H1&gt;&lt;/</a:t>
            </a:r>
            <a:r>
              <a:rPr lang="uk-UA" sz="2000" b="1" dirty="0" err="1" smtClean="0">
                <a:solidFill>
                  <a:srgbClr val="002060"/>
                </a:solidFill>
                <a:latin typeface="Arial" pitchFamily="34" charset="0"/>
              </a:rPr>
              <a:t>center</a:t>
            </a:r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&gt;</a:t>
            </a:r>
            <a:endParaRPr lang="uk-UA" sz="2000" b="1" dirty="0" smtClean="0">
              <a:solidFill>
                <a:srgbClr val="002060"/>
              </a:solidFill>
              <a:latin typeface="Arial" pitchFamily="34" charset="0"/>
            </a:endParaRPr>
          </a:p>
          <a:p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&lt;</a:t>
            </a:r>
            <a:r>
              <a:rPr lang="uk-UA" sz="2000" b="1" dirty="0">
                <a:solidFill>
                  <a:srgbClr val="002060"/>
                </a:solidFill>
                <a:latin typeface="Arial" pitchFamily="34" charset="0"/>
              </a:rPr>
              <a:t>B&gt;Привіт!&lt;/B&gt; &lt;I&gt;Мене звати ..... Я навчаюсь у ..... Я люблю слухати хорошу музику&lt;/I</a:t>
            </a:r>
            <a:r>
              <a:rPr lang="uk-UA" sz="2000" b="1" dirty="0" smtClean="0">
                <a:solidFill>
                  <a:srgbClr val="002060"/>
                </a:solidFill>
                <a:latin typeface="Arial" pitchFamily="34" charset="0"/>
              </a:rPr>
              <a:t>&gt;</a:t>
            </a:r>
            <a:endParaRPr lang="uk-UA" sz="2000" b="1" dirty="0">
              <a:solidFill>
                <a:srgbClr val="002060"/>
              </a:solidFill>
              <a:latin typeface="Arial" pitchFamily="34" charset="0"/>
            </a:endParaRPr>
          </a:p>
          <a:p>
            <a:r>
              <a:rPr lang="uk-UA" sz="2000" b="1" dirty="0">
                <a:solidFill>
                  <a:srgbClr val="002060"/>
                </a:solidFill>
                <a:latin typeface="Arial" pitchFamily="34" charset="0"/>
              </a:rPr>
              <a:t>Моя адреса:</a:t>
            </a:r>
          </a:p>
          <a:p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/BODY&gt;</a:t>
            </a:r>
          </a:p>
          <a:p>
            <a:r>
              <a:rPr lang="uk-UA" sz="2000" b="1" dirty="0">
                <a:solidFill>
                  <a:sysClr val="windowText" lastClr="000000"/>
                </a:solidFill>
                <a:latin typeface="Arial" pitchFamily="34" charset="0"/>
              </a:rPr>
              <a:t>&lt;/HTML&gt;</a:t>
            </a:r>
          </a:p>
        </p:txBody>
      </p:sp>
      <p:pic>
        <p:nvPicPr>
          <p:cNvPr id="10" name="Рисунок 9" descr="kisspng-web-development-mobile-app-development-software-de-developer-5ac2eca5c2f426.469105171522724005798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7759" y="1801727"/>
            <a:ext cx="4159843" cy="337987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accent4">
                    <a:lumMod val="75000"/>
                  </a:schemeClr>
                </a:solidFill>
              </a:rPr>
              <a:t>Алгоритм </a:t>
            </a:r>
            <a:r>
              <a:rPr lang="uk-UA" dirty="0">
                <a:solidFill>
                  <a:schemeClr val="accent4">
                    <a:lumMod val="75000"/>
                  </a:schemeClr>
                </a:solidFill>
              </a:rPr>
              <a:t>виконання практичної роботи: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>
          <a:xfrm>
            <a:off x="445832" y="1156469"/>
            <a:ext cx="11104487" cy="4839213"/>
          </a:xfrm>
          <a:prstGeom prst="rect">
            <a:avLst/>
          </a:prstGeom>
        </p:spPr>
        <p:txBody>
          <a:bodyPr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355600" algn="just" fontAlgn="base">
              <a:buNone/>
            </a:pP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8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. </a:t>
            </a:r>
            <a:r>
              <a:rPr lang="ru-RU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Додайте до тексту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 список 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своїх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</a:t>
            </a:r>
            <a:r>
              <a:rPr lang="ru-RU" sz="2800" dirty="0" err="1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уподобань</a:t>
            </a:r>
            <a:r>
              <a:rPr lang="ru-RU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(як 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нумерований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чи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</a:t>
            </a:r>
            <a:r>
              <a:rPr lang="ru-RU" sz="2800" dirty="0" err="1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маркований</a:t>
            </a:r>
            <a:r>
              <a:rPr lang="ru-RU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список).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 </a:t>
            </a:r>
            <a:endParaRPr lang="ru-RU" sz="2800" dirty="0" smtClean="0">
              <a:latin typeface="Times New Roman" pitchFamily="18" charset="0"/>
              <a:ea typeface="Academia Libera" pitchFamily="18" charset="0"/>
              <a:cs typeface="Times New Roman" pitchFamily="18" charset="0"/>
            </a:endParaRPr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9. 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Створіть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у </a:t>
            </a:r>
            <a:r>
              <a:rPr lang="en-US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html</a:t>
            </a:r>
            <a:r>
              <a:rPr lang="ru-RU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-</a:t>
            </a:r>
            <a:r>
              <a:rPr lang="ru-RU" sz="2800" dirty="0" err="1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документі</a:t>
            </a:r>
            <a:r>
              <a:rPr lang="ru-RU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таблицю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, в </a:t>
            </a:r>
            <a:r>
              <a:rPr lang="ru-RU" sz="2800" dirty="0" err="1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комірки</a:t>
            </a:r>
            <a:r>
              <a:rPr lang="ru-RU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 яко</a:t>
            </a:r>
            <a:r>
              <a:rPr lang="uk-UA" sz="2800" dirty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ї вставте ілюстрації та короткі відомості (наприклад, інформацію про місця, у яких ви побували чи мрієте побувати</a:t>
            </a:r>
            <a:r>
              <a:rPr lang="uk-UA" sz="2800" dirty="0" smtClean="0">
                <a:latin typeface="Times New Roman" pitchFamily="18" charset="0"/>
                <a:ea typeface="Academia Libera" pitchFamily="18" charset="0"/>
                <a:cs typeface="Times New Roman" pitchFamily="18" charset="0"/>
              </a:rPr>
              <a:t>).</a:t>
            </a:r>
            <a:endParaRPr lang="en-US" sz="2800" dirty="0" smtClean="0">
              <a:latin typeface="Times New Roman" pitchFamily="18" charset="0"/>
              <a:ea typeface="Academia Libera" pitchFamily="18" charset="0"/>
              <a:cs typeface="Times New Roman" pitchFamily="18" charset="0"/>
            </a:endParaRPr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 smtClean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 smtClean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uk-UA" sz="2400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590472" y="4691206"/>
            <a:ext cx="10935510" cy="93610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endParaRPr lang="uk-UA" dirty="0">
              <a:latin typeface="+mj-lt"/>
              <a:sym typeface="Wingdings" pitchFamily="2" charset="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rcRect t="13579" r="29523" b="44094"/>
          <a:stretch/>
        </p:blipFill>
        <p:spPr>
          <a:xfrm>
            <a:off x="198266" y="3259871"/>
            <a:ext cx="9172260" cy="3096344"/>
          </a:xfrm>
          <a:prstGeom prst="rect">
            <a:avLst/>
          </a:prstGeom>
        </p:spPr>
      </p:pic>
      <p:pic>
        <p:nvPicPr>
          <p:cNvPr id="9" name="Рисунок 8" descr="kisspng-web-development-web-design-web-developer-web-appli-5b17758a88b3d1.24958860152826407456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0862" y="3398735"/>
            <a:ext cx="3256550" cy="29417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accent4">
                    <a:lumMod val="75000"/>
                  </a:schemeClr>
                </a:solidFill>
              </a:rPr>
              <a:t>Алгоритм </a:t>
            </a:r>
            <a:r>
              <a:rPr lang="uk-UA" dirty="0">
                <a:solidFill>
                  <a:schemeClr val="accent4">
                    <a:lumMod val="75000"/>
                  </a:schemeClr>
                </a:solidFill>
              </a:rPr>
              <a:t>виконання практичної роботи: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>
          <a:xfrm>
            <a:off x="189808" y="1124621"/>
            <a:ext cx="11104487" cy="2376264"/>
          </a:xfrm>
          <a:prstGeom prst="rect">
            <a:avLst/>
          </a:prstGeom>
        </p:spPr>
        <p:txBody>
          <a:bodyPr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355600">
              <a:lnSpc>
                <a:spcPct val="80000"/>
              </a:lnSpc>
              <a:buClr>
                <a:schemeClr val="tx1"/>
              </a:buClr>
              <a:buNone/>
            </a:pPr>
            <a:r>
              <a:rPr lang="uk-UA" sz="2400" dirty="0"/>
              <a:t>10. </a:t>
            </a:r>
            <a:r>
              <a:rPr lang="uk-UA" sz="2400" dirty="0" err="1"/>
              <a:t>Розмістіть</a:t>
            </a:r>
            <a:r>
              <a:rPr lang="uk-UA" sz="2400" dirty="0"/>
              <a:t> </a:t>
            </a:r>
            <a:r>
              <a:rPr lang="uk-UA" sz="2400" dirty="0" smtClean="0"/>
              <a:t>на сторінці </a:t>
            </a:r>
            <a:r>
              <a:rPr lang="ru-RU" sz="2400" dirty="0" err="1" smtClean="0"/>
              <a:t>посилання</a:t>
            </a:r>
            <a:r>
              <a:rPr lang="ru-RU" sz="2400" dirty="0" smtClean="0"/>
              <a:t> </a:t>
            </a:r>
            <a:r>
              <a:rPr lang="ru-RU" sz="2400" dirty="0"/>
              <a:t>на </a:t>
            </a:r>
            <a:r>
              <a:rPr lang="ru-RU" sz="2400" dirty="0" err="1"/>
              <a:t>інші</a:t>
            </a:r>
            <a:r>
              <a:rPr lang="ru-RU" sz="2400" dirty="0"/>
              <a:t> </a:t>
            </a:r>
            <a:r>
              <a:rPr lang="ru-RU" sz="2400" dirty="0" err="1"/>
              <a:t>сторінки</a:t>
            </a:r>
            <a:r>
              <a:rPr lang="ru-RU" sz="2400" dirty="0"/>
              <a:t> (</a:t>
            </a:r>
            <a:r>
              <a:rPr lang="ru-RU" sz="2400" dirty="0" err="1"/>
              <a:t>міста</a:t>
            </a:r>
            <a:r>
              <a:rPr lang="ru-RU" sz="2400" dirty="0"/>
              <a:t>, </a:t>
            </a:r>
            <a:r>
              <a:rPr lang="ru-RU" sz="2400" dirty="0" err="1"/>
              <a:t>навчального</a:t>
            </a:r>
            <a:r>
              <a:rPr lang="ru-RU" sz="2400" dirty="0"/>
              <a:t> закладу).</a:t>
            </a:r>
          </a:p>
          <a:p>
            <a:pPr marL="0" indent="355600">
              <a:lnSpc>
                <a:spcPct val="80000"/>
              </a:lnSpc>
              <a:buClr>
                <a:schemeClr val="tx1"/>
              </a:buClr>
              <a:buNone/>
            </a:pPr>
            <a:r>
              <a:rPr lang="uk-UA" sz="2400" dirty="0">
                <a:sym typeface="Wingdings" pitchFamily="2" charset="2"/>
              </a:rPr>
              <a:t>11. </a:t>
            </a:r>
            <a:r>
              <a:rPr lang="uk-UA" sz="2400" dirty="0"/>
              <a:t> </a:t>
            </a:r>
            <a:r>
              <a:rPr lang="ru-RU" sz="2400" dirty="0" err="1"/>
              <a:t>Збережіть</a:t>
            </a:r>
            <a:r>
              <a:rPr lang="ru-RU" sz="2400" dirty="0"/>
              <a:t> файл на диску і </a:t>
            </a:r>
            <a:r>
              <a:rPr lang="ru-RU" sz="2400" dirty="0" err="1"/>
              <a:t>перегляньте</a:t>
            </a:r>
            <a:r>
              <a:rPr lang="ru-RU" sz="2400" dirty="0"/>
              <a:t> </a:t>
            </a:r>
            <a:r>
              <a:rPr lang="ru-RU" sz="2400" dirty="0" err="1"/>
              <a:t>його</a:t>
            </a:r>
            <a:r>
              <a:rPr lang="ru-RU" sz="2400" dirty="0"/>
              <a:t> у </a:t>
            </a:r>
            <a:r>
              <a:rPr lang="ru-RU" sz="2400" dirty="0" err="1"/>
              <a:t>браузері</a:t>
            </a:r>
            <a:r>
              <a:rPr lang="ru-RU" sz="2400" dirty="0"/>
              <a:t>.</a:t>
            </a:r>
          </a:p>
          <a:p>
            <a:pPr marL="0" indent="355600" fontAlgn="base">
              <a:buNone/>
            </a:pPr>
            <a:r>
              <a:rPr lang="ru-RU" sz="2400" dirty="0"/>
              <a:t>12. </a:t>
            </a:r>
            <a:r>
              <a:rPr lang="ru-RU" sz="2400" dirty="0" err="1"/>
              <a:t>Удоскональте</a:t>
            </a:r>
            <a:r>
              <a:rPr lang="ru-RU" sz="2400" dirty="0"/>
              <a:t> свою </a:t>
            </a:r>
            <a:r>
              <a:rPr lang="ru-RU" sz="2400" dirty="0" err="1"/>
              <a:t>web-сторінку</a:t>
            </a:r>
            <a:r>
              <a:rPr lang="ru-RU" sz="2400" dirty="0"/>
              <a:t>.</a:t>
            </a:r>
          </a:p>
          <a:p>
            <a:pPr marL="0" indent="355600" fontAlgn="base">
              <a:buNone/>
            </a:pPr>
            <a:r>
              <a:rPr lang="ru-RU" sz="2400" dirty="0"/>
              <a:t>13. </a:t>
            </a:r>
            <a:r>
              <a:rPr lang="ru-RU" sz="2400" dirty="0" err="1"/>
              <a:t>Продемонструйте</a:t>
            </a:r>
            <a:r>
              <a:rPr lang="ru-RU" sz="2400" dirty="0"/>
              <a:t> </a:t>
            </a:r>
            <a:r>
              <a:rPr lang="ru-RU" sz="2400" dirty="0" err="1"/>
              <a:t>виконану</a:t>
            </a:r>
            <a:r>
              <a:rPr lang="ru-RU" sz="2400" dirty="0"/>
              <a:t> роботу </a:t>
            </a:r>
            <a:r>
              <a:rPr lang="ru-RU" sz="2400" dirty="0" err="1"/>
              <a:t>вчителю</a:t>
            </a:r>
            <a:r>
              <a:rPr lang="ru-RU" sz="2400" dirty="0"/>
              <a:t>.</a:t>
            </a:r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 smtClean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 smtClean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en-US" sz="2400" dirty="0"/>
          </a:p>
          <a:p>
            <a:pPr marL="0" indent="355600" algn="just">
              <a:lnSpc>
                <a:spcPct val="80000"/>
              </a:lnSpc>
              <a:buClr>
                <a:schemeClr val="tx1"/>
              </a:buClr>
              <a:buNone/>
            </a:pPr>
            <a:endParaRPr lang="uk-UA" sz="2400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590472" y="4691206"/>
            <a:ext cx="10935510" cy="93610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endParaRPr lang="uk-UA" dirty="0">
              <a:latin typeface="+mj-lt"/>
              <a:sym typeface="Wingdings" pitchFamily="2" charset="2"/>
            </a:endParaRPr>
          </a:p>
        </p:txBody>
      </p:sp>
      <p:pic>
        <p:nvPicPr>
          <p:cNvPr id="11" name="Рисунок 10" descr="kisspng-web-development-php-web-design-software-developer-website-5abbeac8038194.2398679915222647760144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421" y="913491"/>
            <a:ext cx="6354679" cy="675714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31371" y="452670"/>
            <a:ext cx="5088565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4267" b="1" dirty="0"/>
              <a:t>Вебса́йт</a:t>
            </a:r>
            <a:r>
              <a:rPr lang="uk-UA" sz="4267" dirty="0"/>
              <a:t> або </a:t>
            </a:r>
            <a:r>
              <a:rPr lang="uk-UA" sz="4267" b="1" dirty="0"/>
              <a:t>сайт</a:t>
            </a:r>
            <a:endParaRPr lang="uk-UA" sz="4267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b="28987"/>
          <a:stretch/>
        </p:blipFill>
        <p:spPr>
          <a:xfrm>
            <a:off x="6096000" y="-70821"/>
            <a:ext cx="6096001" cy="6789373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143340" y="1385880"/>
            <a:ext cx="7440149" cy="204312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uk-UA" sz="2667" dirty="0">
                <a:solidFill>
                  <a:schemeClr val="tx1"/>
                </a:solidFill>
              </a:rPr>
              <a:t>— сукупність </a:t>
            </a:r>
            <a:r>
              <a:rPr lang="uk-UA" sz="2667" dirty="0" err="1">
                <a:solidFill>
                  <a:schemeClr val="tx1"/>
                </a:solidFill>
              </a:rPr>
              <a:t>вебсторінок</a:t>
            </a:r>
            <a:r>
              <a:rPr lang="uk-UA" sz="2667" dirty="0">
                <a:solidFill>
                  <a:schemeClr val="tx1"/>
                </a:solidFill>
              </a:rPr>
              <a:t> </a:t>
            </a:r>
          </a:p>
          <a:p>
            <a:r>
              <a:rPr lang="uk-UA" sz="2667" dirty="0">
                <a:solidFill>
                  <a:schemeClr val="tx1"/>
                </a:solidFill>
              </a:rPr>
              <a:t>та залежного вмісту, доступних у </a:t>
            </a:r>
          </a:p>
          <a:p>
            <a:r>
              <a:rPr lang="uk-UA" sz="2667" dirty="0">
                <a:solidFill>
                  <a:schemeClr val="tx1"/>
                </a:solidFill>
              </a:rPr>
              <a:t>мережі Інтернет, які об'єднані як за </a:t>
            </a:r>
          </a:p>
          <a:p>
            <a:r>
              <a:rPr lang="uk-UA" sz="2667" dirty="0">
                <a:solidFill>
                  <a:schemeClr val="tx1"/>
                </a:solidFill>
              </a:rPr>
              <a:t>змістом, так і за навігацією під єдиним доменним ім'ям.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478" y="3101680"/>
            <a:ext cx="5386264" cy="377038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417594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>
                <a:solidFill>
                  <a:schemeClr val="accent4">
                    <a:lumMod val="75000"/>
                  </a:schemeClr>
                </a:solidFill>
              </a:rPr>
              <a:t>Завдання на самостійну підготовку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94663" y="1340768"/>
            <a:ext cx="8869007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uk-UA" sz="2800" dirty="0">
                <a:solidFill>
                  <a:srgbClr val="242021"/>
                </a:solidFill>
                <a:latin typeface="SchoolBook-Regular"/>
              </a:rPr>
              <a:t>Проведіть порівняльний аналіз </a:t>
            </a:r>
            <a:r>
              <a:rPr lang="en-US" sz="2800" dirty="0">
                <a:solidFill>
                  <a:srgbClr val="242021"/>
                </a:solidFill>
                <a:latin typeface="SchoolBook-Regular"/>
              </a:rPr>
              <a:t>HTML5 </a:t>
            </a:r>
            <a:r>
              <a:rPr lang="uk-UA" sz="2800" dirty="0">
                <a:solidFill>
                  <a:srgbClr val="242021"/>
                </a:solidFill>
                <a:latin typeface="SchoolBook-Regular"/>
              </a:rPr>
              <a:t>та </a:t>
            </a:r>
            <a:r>
              <a:rPr lang="en-US" sz="2800" dirty="0">
                <a:solidFill>
                  <a:srgbClr val="242021"/>
                </a:solidFill>
                <a:latin typeface="SchoolBook-Regular"/>
              </a:rPr>
              <a:t>HTML4. </a:t>
            </a:r>
            <a:r>
              <a:rPr lang="uk-UA" sz="2800" dirty="0">
                <a:solidFill>
                  <a:srgbClr val="242021"/>
                </a:solidFill>
                <a:latin typeface="SchoolBook-Regular"/>
              </a:rPr>
              <a:t>У </a:t>
            </a:r>
            <a:r>
              <a:rPr lang="uk-UA" sz="2800" dirty="0" smtClean="0">
                <a:solidFill>
                  <a:srgbClr val="242021"/>
                </a:solidFill>
                <a:latin typeface="SchoolBook-Regular"/>
              </a:rPr>
              <a:t>чому різниця?</a:t>
            </a:r>
          </a:p>
          <a:p>
            <a:pPr marL="457200" indent="-457200">
              <a:buFont typeface="+mj-lt"/>
              <a:buAutoNum type="arabicPeriod"/>
            </a:pPr>
            <a:r>
              <a:rPr lang="uk-UA" sz="2800" dirty="0" smtClean="0">
                <a:solidFill>
                  <a:srgbClr val="242021"/>
                </a:solidFill>
                <a:latin typeface="SchoolBook-Regular"/>
              </a:rPr>
              <a:t>Створіть </a:t>
            </a:r>
            <a:r>
              <a:rPr lang="uk-UA" sz="2800" dirty="0">
                <a:solidFill>
                  <a:srgbClr val="242021"/>
                </a:solidFill>
                <a:latin typeface="SchoolBook-Regular"/>
              </a:rPr>
              <a:t>самостійно сторінку </a:t>
            </a:r>
            <a:r>
              <a:rPr lang="uk-UA" sz="2800" dirty="0" err="1">
                <a:solidFill>
                  <a:srgbClr val="242021"/>
                </a:solidFill>
                <a:latin typeface="SchoolBook-Regular"/>
              </a:rPr>
              <a:t>сайта</a:t>
            </a:r>
            <a:r>
              <a:rPr lang="uk-UA" sz="2800" dirty="0">
                <a:solidFill>
                  <a:srgbClr val="242021"/>
                </a:solidFill>
                <a:latin typeface="SchoolBook-Regular"/>
              </a:rPr>
              <a:t>, присвячену </a:t>
            </a:r>
            <a:r>
              <a:rPr lang="uk-UA" sz="2800" dirty="0" smtClean="0">
                <a:solidFill>
                  <a:srgbClr val="242021"/>
                </a:solidFill>
                <a:latin typeface="SchoolBook-Regular"/>
              </a:rPr>
              <a:t>вивченню мови </a:t>
            </a:r>
            <a:r>
              <a:rPr lang="en-US" sz="2800" dirty="0" smtClean="0">
                <a:solidFill>
                  <a:srgbClr val="242021"/>
                </a:solidFill>
                <a:latin typeface="SchoolBook-Regular"/>
              </a:rPr>
              <a:t>HTML</a:t>
            </a:r>
            <a:r>
              <a:rPr lang="uk-UA" sz="2800" dirty="0" smtClean="0"/>
              <a:t>.</a:t>
            </a:r>
            <a:r>
              <a:rPr lang="en-US" dirty="0"/>
              <a:t/>
            </a:r>
            <a:br>
              <a:rPr lang="en-US" dirty="0"/>
            </a:br>
            <a:endParaRPr lang="uk-UA" dirty="0"/>
          </a:p>
        </p:txBody>
      </p:sp>
      <p:pic>
        <p:nvPicPr>
          <p:cNvPr id="1028" name="Picture 4" descr="International Emerging Actions - IEA - CNRS en Amérique du Sud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178377"/>
            <a:ext cx="2264364" cy="226377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>
            <a:extLst>
              <a:ext uri="{FF2B5EF4-FFF2-40B4-BE49-F238E27FC236}">
                <a16:creationId xmlns="" xmlns:a16="http://schemas.microsoft.com/office/drawing/2014/main" id="{0D0AD698-C689-4C9B-84DF-ABA59C4750C7}"/>
              </a:ext>
            </a:extLst>
          </p:cNvPr>
          <p:cNvSpPr/>
          <p:nvPr/>
        </p:nvSpPr>
        <p:spPr>
          <a:xfrm>
            <a:off x="329078" y="382556"/>
            <a:ext cx="11297803" cy="6092891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-481262" y="176462"/>
            <a:ext cx="7395412" cy="1280110"/>
          </a:xfrm>
        </p:spPr>
        <p:txBody>
          <a:bodyPr>
            <a:noAutofit/>
          </a:bodyPr>
          <a:lstStyle/>
          <a:p>
            <a:r>
              <a:rPr lang="uk-UA" sz="8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ригадайте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uk-UA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188" y="0"/>
            <a:ext cx="2974854" cy="1767844"/>
          </a:xfrm>
          <a:prstGeom prst="rect">
            <a:avLst/>
          </a:prstGeom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="" xmlns:p14="http://schemas.microsoft.com/office/powerpoint/2010/main" val="1470646185"/>
              </p:ext>
            </p:extLst>
          </p:nvPr>
        </p:nvGraphicFramePr>
        <p:xfrm>
          <a:off x="785334" y="1952324"/>
          <a:ext cx="10243983" cy="4181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="" xmlns:p14="http://schemas.microsoft.com/office/powerpoint/2010/main" val="39032061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o16DOPbv2.jpg"/>
          <p:cNvPicPr>
            <a:picLocks noGrp="1" noChangeAspect="1"/>
          </p:cNvPicPr>
          <p:nvPr>
            <p:ph type="pic" idx="1"/>
          </p:nvPr>
        </p:nvPicPr>
        <p:blipFill>
          <a:blip r:embed="rId3" cstate="print"/>
          <a:srcRect l="16663" r="16663"/>
          <a:stretch>
            <a:fillRect/>
          </a:stretch>
        </p:blipFill>
        <p:spPr/>
      </p:pic>
      <p:pic>
        <p:nvPicPr>
          <p:cNvPr id="5" name="Picture 2" descr="E:\002-KIMS BUSINESS\007-bizdesign.tv\000-PPT FOR KMONG\PSD\13-05-14\모니터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721" y="1436240"/>
            <a:ext cx="4560219" cy="39855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13"/>
          <p:cNvSpPr txBox="1">
            <a:spLocks/>
          </p:cNvSpPr>
          <p:nvPr/>
        </p:nvSpPr>
        <p:spPr>
          <a:xfrm>
            <a:off x="380960" y="190480"/>
            <a:ext cx="5715040" cy="1579045"/>
          </a:xfrm>
          <a:prstGeom prst="rect">
            <a:avLst/>
          </a:prstGeom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lnSpc>
                <a:spcPct val="110000"/>
              </a:lnSpc>
              <a:buNone/>
            </a:pPr>
            <a:r>
              <a:rPr lang="ru-RU" sz="3733" b="1" dirty="0">
                <a:solidFill>
                  <a:prstClr val="white"/>
                </a:solidFill>
                <a:latin typeface="Arial"/>
                <a:cs typeface="Arial" pitchFamily="34" charset="0"/>
              </a:rPr>
              <a:t>Перший у </a:t>
            </a:r>
            <a:r>
              <a:rPr lang="ru-RU" sz="3733" b="1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світі</a:t>
            </a:r>
            <a:r>
              <a:rPr lang="ru-RU" sz="3733" b="1" dirty="0">
                <a:solidFill>
                  <a:prstClr val="white"/>
                </a:solidFill>
                <a:latin typeface="Arial"/>
                <a:cs typeface="Arial" pitchFamily="34" charset="0"/>
              </a:rPr>
              <a:t> сайт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0460" y="1809739"/>
            <a:ext cx="39052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            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з'явився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в 1990 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році</a:t>
            </a:r>
            <a:endParaRPr lang="ru-RU" sz="16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</a:p>
          <a:p>
            <a:pPr defTabSz="1219170" latinLnBrk="1"/>
            <a:endParaRPr lang="ru-RU" sz="16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Тім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Бернерс-Лі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 —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батько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сучасного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інтернету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. </a:t>
            </a:r>
          </a:p>
          <a:p>
            <a:pPr defTabSz="1219170" latinLnBrk="1"/>
            <a:endParaRPr lang="ru-RU" sz="16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defTabSz="1219170" latinLnBrk="1"/>
            <a:r>
              <a:rPr lang="uk-UA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О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публікував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на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своєму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сайті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опис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нової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технології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 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WWW (World Wide Web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)</a:t>
            </a:r>
          </a:p>
          <a:p>
            <a:pPr defTabSz="1219170" latinLnBrk="1"/>
            <a:endParaRPr lang="ru-RU" sz="16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defTabSz="1219170" latinLnBrk="1"/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Сайт став першим у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світі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 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інтернет-каталогом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, на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якому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Тім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Бернерс-Лі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розмістив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 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гіперпосилання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 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на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інші</a:t>
            </a:r>
            <a:endParaRPr lang="ru-RU" sz="1600" b="1" dirty="0">
              <a:solidFill>
                <a:prstClr val="black"/>
              </a:solidFill>
              <a:latin typeface="Arial"/>
              <a:cs typeface="Arial" pitchFamily="34" charset="0"/>
            </a:endParaRP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інтернет-ресурси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,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що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розпочали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</a:p>
          <a:p>
            <a:pPr defTabSz="1219170" latinLnBrk="1"/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своє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/>
                <a:cs typeface="Arial" pitchFamily="34" charset="0"/>
              </a:rPr>
              <a:t>існування</a:t>
            </a:r>
            <a:r>
              <a:rPr lang="ru-RU" sz="16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. </a:t>
            </a:r>
            <a:endParaRPr lang="ko-KR" altLang="en-US" sz="160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1" name="Рисунок 10" descr="the-worlds-first-web-sites-featured-photo.jpg"/>
          <p:cNvPicPr>
            <a:picLocks noGrp="1" noChangeAspect="1"/>
          </p:cNvPicPr>
          <p:nvPr>
            <p:ph type="pic" idx="10"/>
          </p:nvPr>
        </p:nvPicPr>
        <p:blipFill>
          <a:blip r:embed="rId5"/>
          <a:srcRect l="4458" r="4458"/>
          <a:stretch>
            <a:fillRect/>
          </a:stretch>
        </p:blipFill>
        <p:spPr/>
      </p:pic>
      <p:sp>
        <p:nvSpPr>
          <p:cNvPr id="15" name="Text Placeholder 13"/>
          <p:cNvSpPr txBox="1">
            <a:spLocks/>
          </p:cNvSpPr>
          <p:nvPr/>
        </p:nvSpPr>
        <p:spPr>
          <a:xfrm>
            <a:off x="857215" y="952483"/>
            <a:ext cx="3333773" cy="1143008"/>
          </a:xfrm>
          <a:prstGeom prst="rect">
            <a:avLst/>
          </a:prstGeom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lnSpc>
                <a:spcPct val="110000"/>
              </a:lnSpc>
              <a:buNone/>
            </a:pPr>
            <a:r>
              <a:rPr lang="en-US" sz="3733" b="1" u="sng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info.cern.ch</a:t>
            </a:r>
            <a:r>
              <a:rPr lang="en-US" sz="3733" b="1" u="sng" dirty="0">
                <a:solidFill>
                  <a:prstClr val="black"/>
                </a:solidFill>
                <a:latin typeface="Arial"/>
                <a:cs typeface="Arial" pitchFamily="34" charset="0"/>
              </a:rPr>
              <a:t> </a:t>
            </a:r>
            <a:endParaRPr lang="ru-RU" sz="3733" b="1" u="sng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47979" y="5723677"/>
            <a:ext cx="7429552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ru-RU" sz="5333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j-ea"/>
                <a:cs typeface="Arial" pitchFamily="34" charset="0"/>
              </a:rPr>
              <a:t>Тім</a:t>
            </a:r>
            <a:r>
              <a:rPr lang="ru-RU" sz="5333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j-ea"/>
                <a:cs typeface="Arial" pitchFamily="34" charset="0"/>
              </a:rPr>
              <a:t> </a:t>
            </a:r>
            <a:r>
              <a:rPr lang="ru-RU" sz="5333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j-ea"/>
                <a:cs typeface="Arial" pitchFamily="34" charset="0"/>
              </a:rPr>
              <a:t>Бернерс-Лі</a:t>
            </a:r>
            <a:endParaRPr lang="ru-RU" sz="5333" b="1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93029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Robert_Cailliau_On_Desk.jpg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7346" b="7346"/>
          <a:stretch>
            <a:fillRect/>
          </a:stretch>
        </p:blipFill>
        <p:spPr>
          <a:xfrm>
            <a:off x="0" y="0"/>
            <a:ext cx="6096001" cy="6858000"/>
          </a:xfrm>
        </p:spPr>
      </p:pic>
      <p:sp>
        <p:nvSpPr>
          <p:cNvPr id="5" name="Прямоугольник 4"/>
          <p:cNvSpPr/>
          <p:nvPr/>
        </p:nvSpPr>
        <p:spPr>
          <a:xfrm>
            <a:off x="4667242" y="0"/>
            <a:ext cx="5273751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latinLnBrk="1">
              <a:spcBef>
                <a:spcPct val="0"/>
              </a:spcBef>
            </a:pPr>
            <a:r>
              <a:rPr lang="ru-RU" sz="6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j-ea"/>
                <a:cs typeface="Arial" pitchFamily="34" charset="0"/>
              </a:rPr>
              <a:t>Роберт </a:t>
            </a:r>
            <a:r>
              <a:rPr lang="ru-RU" sz="6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j-ea"/>
                <a:cs typeface="Arial" pitchFamily="34" charset="0"/>
              </a:rPr>
              <a:t>Кайо</a:t>
            </a:r>
            <a:endParaRPr lang="ru-RU" sz="6400" b="1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286502" y="1142984"/>
            <a:ext cx="59054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latinLnBrk="1"/>
            <a:r>
              <a:rPr lang="ru-RU" sz="2400" dirty="0" err="1">
                <a:solidFill>
                  <a:prstClr val="black"/>
                </a:solidFill>
                <a:latin typeface="Arial"/>
              </a:rPr>
              <a:t>бельгійський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інженер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, доктор наук, </a:t>
            </a:r>
          </a:p>
          <a:p>
            <a:pPr defTabSz="1219170" latinLnBrk="1"/>
            <a:r>
              <a:rPr lang="ru-RU" sz="2400" dirty="0">
                <a:solidFill>
                  <a:prstClr val="black"/>
                </a:solidFill>
                <a:latin typeface="Arial"/>
              </a:rPr>
              <a:t>разом 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з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 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Тімом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Бернерсом-Лі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 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розробив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технологію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 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Всесвітньої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2400" dirty="0" err="1">
                <a:solidFill>
                  <a:prstClr val="black"/>
                </a:solidFill>
                <a:latin typeface="Arial"/>
              </a:rPr>
              <a:t>павутини</a:t>
            </a:r>
            <a:r>
              <a:rPr lang="ru-RU" sz="2400" dirty="0">
                <a:solidFill>
                  <a:prstClr val="black"/>
                </a:solidFill>
                <a:latin typeface="Arial"/>
              </a:rPr>
              <a:t>.</a:t>
            </a:r>
          </a:p>
        </p:txBody>
      </p:sp>
      <p:pic>
        <p:nvPicPr>
          <p:cNvPr id="100354" name="Picture 2" descr="https://upload.wikimedia.org/wikipedia/commons/thumb/b/b2/WWW_logo_by_Robert_Cailliau.svg/800px-WWW_logo_by_Robert_Cailliau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3" y="2762245"/>
            <a:ext cx="3014904" cy="2215955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6477003" y="5138996"/>
            <a:ext cx="5429288" cy="91940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1219170" latinLnBrk="1"/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itchFamily="18" charset="0"/>
              </a:rPr>
              <a:t>Логотип WWW,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mbria" pitchFamily="18" charset="0"/>
              </a:rPr>
              <a:t>створений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itchFamily="18" charset="0"/>
              </a:rPr>
              <a:t> </a:t>
            </a:r>
          </a:p>
          <a:p>
            <a:pPr defTabSz="1219170" latinLnBrk="1"/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itchFamily="18" charset="0"/>
              </a:rPr>
              <a:t>Робертом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mbria" pitchFamily="18" charset="0"/>
              </a:rPr>
              <a:t>Кайо</a:t>
            </a:r>
            <a:endParaRPr lang="ru-RU" sz="2400" dirty="0">
              <a:solidFill>
                <a:prstClr val="black">
                  <a:lumMod val="75000"/>
                  <a:lumOff val="25000"/>
                </a:prstClr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2448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" y="631258"/>
            <a:ext cx="12192000" cy="775779"/>
          </a:xfrm>
        </p:spPr>
        <p:txBody>
          <a:bodyPr>
            <a:noAutofit/>
          </a:bodyPr>
          <a:lstStyle/>
          <a:p>
            <a:r>
              <a:rPr lang="uk-UA" sz="6400" dirty="0"/>
              <a:t>Ознаки класифікації сайтів</a:t>
            </a:r>
            <a:endParaRPr lang="en-US" sz="6400" dirty="0"/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B86476EE-9FD2-4CEA-A6D9-0AD39ADF3D03}"/>
              </a:ext>
            </a:extLst>
          </p:cNvPr>
          <p:cNvSpPr txBox="1"/>
          <p:nvPr/>
        </p:nvSpPr>
        <p:spPr>
          <a:xfrm>
            <a:off x="1" y="6599762"/>
            <a:ext cx="12192000" cy="25654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en-US" altLang="ko-KR" sz="1067" dirty="0">
                <a:solidFill>
                  <a:prstClr val="white"/>
                </a:solidFill>
                <a:latin typeface="Arial"/>
                <a:hlinkClick r:id="rId2"/>
              </a:rPr>
              <a:t>www.free-powerpoint-templates-design.com</a:t>
            </a:r>
            <a:endParaRPr lang="ko-KR" altLang="en-US" sz="106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8" name="Rectangle 4">
            <a:extLst>
              <a:ext uri="{FF2B5EF4-FFF2-40B4-BE49-F238E27FC236}">
                <a16:creationId xmlns="" xmlns:a16="http://schemas.microsoft.com/office/drawing/2014/main" id="{8EB85310-161D-4450-B880-912771C1779B}"/>
              </a:ext>
            </a:extLst>
          </p:cNvPr>
          <p:cNvSpPr/>
          <p:nvPr/>
        </p:nvSpPr>
        <p:spPr>
          <a:xfrm>
            <a:off x="3129507" y="1832323"/>
            <a:ext cx="8124648" cy="72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9" name="Oval 5">
            <a:extLst>
              <a:ext uri="{FF2B5EF4-FFF2-40B4-BE49-F238E27FC236}">
                <a16:creationId xmlns="" xmlns:a16="http://schemas.microsoft.com/office/drawing/2014/main" id="{2E7DCF48-C322-446B-838B-EBD5C0FD3947}"/>
              </a:ext>
            </a:extLst>
          </p:cNvPr>
          <p:cNvSpPr/>
          <p:nvPr/>
        </p:nvSpPr>
        <p:spPr>
          <a:xfrm>
            <a:off x="969508" y="1832323"/>
            <a:ext cx="4320000" cy="4320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="" xmlns:a16="http://schemas.microsoft.com/office/drawing/2014/main" id="{61EDE043-60D7-4D51-AFFA-47AB161728F4}"/>
              </a:ext>
            </a:extLst>
          </p:cNvPr>
          <p:cNvSpPr txBox="1"/>
          <p:nvPr/>
        </p:nvSpPr>
        <p:spPr>
          <a:xfrm>
            <a:off x="2197556" y="2006928"/>
            <a:ext cx="1863905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2667" b="1" dirty="0">
                <a:solidFill>
                  <a:prstClr val="white"/>
                </a:solidFill>
                <a:latin typeface="Arial"/>
                <a:cs typeface="Arial" pitchFamily="34" charset="0"/>
              </a:rPr>
              <a:t>5</a:t>
            </a:r>
            <a:endParaRPr lang="ko-KR" altLang="en-US" sz="2667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81" name="Rectangle 9">
            <a:extLst>
              <a:ext uri="{FF2B5EF4-FFF2-40B4-BE49-F238E27FC236}">
                <a16:creationId xmlns="" xmlns:a16="http://schemas.microsoft.com/office/drawing/2014/main" id="{02327912-D1C1-4F27-8E30-308500AD3E26}"/>
              </a:ext>
            </a:extLst>
          </p:cNvPr>
          <p:cNvSpPr/>
          <p:nvPr/>
        </p:nvSpPr>
        <p:spPr>
          <a:xfrm>
            <a:off x="3129507" y="2734019"/>
            <a:ext cx="8124648" cy="720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2" name="Oval 10">
            <a:extLst>
              <a:ext uri="{FF2B5EF4-FFF2-40B4-BE49-F238E27FC236}">
                <a16:creationId xmlns="" xmlns:a16="http://schemas.microsoft.com/office/drawing/2014/main" id="{7BC64024-7855-4A03-ACD7-3CE171DB4383}"/>
              </a:ext>
            </a:extLst>
          </p:cNvPr>
          <p:cNvSpPr/>
          <p:nvPr/>
        </p:nvSpPr>
        <p:spPr>
          <a:xfrm>
            <a:off x="1329507" y="2559105"/>
            <a:ext cx="3600001" cy="360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="" xmlns:a16="http://schemas.microsoft.com/office/drawing/2014/main" id="{2528EADC-2536-485A-87E0-97E22BC82363}"/>
              </a:ext>
            </a:extLst>
          </p:cNvPr>
          <p:cNvSpPr txBox="1"/>
          <p:nvPr/>
        </p:nvSpPr>
        <p:spPr>
          <a:xfrm>
            <a:off x="2197556" y="2749421"/>
            <a:ext cx="1863905" cy="52322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28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4</a:t>
            </a:r>
            <a:endParaRPr lang="ko-KR" altLang="en-US" sz="28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84" name="Rectangle 12">
            <a:extLst>
              <a:ext uri="{FF2B5EF4-FFF2-40B4-BE49-F238E27FC236}">
                <a16:creationId xmlns="" xmlns:a16="http://schemas.microsoft.com/office/drawing/2014/main" id="{0CF2FD74-5324-4698-9DCD-29F9C7DD6106}"/>
              </a:ext>
            </a:extLst>
          </p:cNvPr>
          <p:cNvSpPr/>
          <p:nvPr/>
        </p:nvSpPr>
        <p:spPr>
          <a:xfrm>
            <a:off x="3129507" y="3635715"/>
            <a:ext cx="8124648" cy="72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5" name="Oval 13">
            <a:extLst>
              <a:ext uri="{FF2B5EF4-FFF2-40B4-BE49-F238E27FC236}">
                <a16:creationId xmlns="" xmlns:a16="http://schemas.microsoft.com/office/drawing/2014/main" id="{418CA144-64B5-45CF-98C5-4D549648B878}"/>
              </a:ext>
            </a:extLst>
          </p:cNvPr>
          <p:cNvSpPr/>
          <p:nvPr/>
        </p:nvSpPr>
        <p:spPr>
          <a:xfrm>
            <a:off x="1689507" y="3279107"/>
            <a:ext cx="2880000" cy="288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="" xmlns:a16="http://schemas.microsoft.com/office/drawing/2014/main" id="{93D6D94F-5A63-4D0F-A8F1-74FD40CB93FE}"/>
              </a:ext>
            </a:extLst>
          </p:cNvPr>
          <p:cNvSpPr txBox="1"/>
          <p:nvPr/>
        </p:nvSpPr>
        <p:spPr>
          <a:xfrm>
            <a:off x="2197556" y="3491913"/>
            <a:ext cx="1863905" cy="5436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2933" b="1" dirty="0">
                <a:solidFill>
                  <a:prstClr val="white"/>
                </a:solidFill>
                <a:latin typeface="Arial"/>
                <a:cs typeface="Arial" pitchFamily="34" charset="0"/>
              </a:rPr>
              <a:t>3</a:t>
            </a:r>
            <a:endParaRPr lang="ko-KR" altLang="en-US" sz="2933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87" name="Rectangle 15">
            <a:extLst>
              <a:ext uri="{FF2B5EF4-FFF2-40B4-BE49-F238E27FC236}">
                <a16:creationId xmlns="" xmlns:a16="http://schemas.microsoft.com/office/drawing/2014/main" id="{2C514EFF-C5F2-4357-B86D-F653509C8F5C}"/>
              </a:ext>
            </a:extLst>
          </p:cNvPr>
          <p:cNvSpPr/>
          <p:nvPr/>
        </p:nvSpPr>
        <p:spPr>
          <a:xfrm>
            <a:off x="3129507" y="4537411"/>
            <a:ext cx="8124648" cy="72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8" name="Oval 16">
            <a:extLst>
              <a:ext uri="{FF2B5EF4-FFF2-40B4-BE49-F238E27FC236}">
                <a16:creationId xmlns="" xmlns:a16="http://schemas.microsoft.com/office/drawing/2014/main" id="{9208BF53-95BB-421F-BDFD-3F8AFA37A7E0}"/>
              </a:ext>
            </a:extLst>
          </p:cNvPr>
          <p:cNvSpPr/>
          <p:nvPr/>
        </p:nvSpPr>
        <p:spPr>
          <a:xfrm>
            <a:off x="2049506" y="3999107"/>
            <a:ext cx="2160001" cy="21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="" xmlns:a16="http://schemas.microsoft.com/office/drawing/2014/main" id="{F17FEFC1-F834-48EE-BC63-91A36728BE8D}"/>
              </a:ext>
            </a:extLst>
          </p:cNvPr>
          <p:cNvSpPr txBox="1"/>
          <p:nvPr/>
        </p:nvSpPr>
        <p:spPr>
          <a:xfrm>
            <a:off x="2197556" y="4234407"/>
            <a:ext cx="1863905" cy="56432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3067" b="1" dirty="0">
                <a:solidFill>
                  <a:prstClr val="white"/>
                </a:solidFill>
                <a:latin typeface="Arial"/>
                <a:cs typeface="Arial" pitchFamily="34" charset="0"/>
              </a:rPr>
              <a:t>2</a:t>
            </a:r>
            <a:endParaRPr lang="ko-KR" altLang="en-US" sz="3067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90" name="Rectangle 18">
            <a:extLst>
              <a:ext uri="{FF2B5EF4-FFF2-40B4-BE49-F238E27FC236}">
                <a16:creationId xmlns="" xmlns:a16="http://schemas.microsoft.com/office/drawing/2014/main" id="{3C704E49-D7D3-43BF-B70D-7805C6F60236}"/>
              </a:ext>
            </a:extLst>
          </p:cNvPr>
          <p:cNvSpPr/>
          <p:nvPr/>
        </p:nvSpPr>
        <p:spPr>
          <a:xfrm>
            <a:off x="3129507" y="5429167"/>
            <a:ext cx="8124648" cy="72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1" name="Oval 19">
            <a:extLst>
              <a:ext uri="{FF2B5EF4-FFF2-40B4-BE49-F238E27FC236}">
                <a16:creationId xmlns="" xmlns:a16="http://schemas.microsoft.com/office/drawing/2014/main" id="{F6EF40C9-6097-4F3F-84A4-D064CA66817F}"/>
              </a:ext>
            </a:extLst>
          </p:cNvPr>
          <p:cNvSpPr/>
          <p:nvPr/>
        </p:nvSpPr>
        <p:spPr>
          <a:xfrm>
            <a:off x="2409508" y="4719107"/>
            <a:ext cx="1440000" cy="14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latinLnBrk="1"/>
            <a:endParaRPr lang="ko-KR" alt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="" xmlns:a16="http://schemas.microsoft.com/office/drawing/2014/main" id="{C6999C70-8E46-4243-BA35-1CC59919E141}"/>
              </a:ext>
            </a:extLst>
          </p:cNvPr>
          <p:cNvSpPr txBox="1"/>
          <p:nvPr/>
        </p:nvSpPr>
        <p:spPr>
          <a:xfrm>
            <a:off x="2498592" y="5115945"/>
            <a:ext cx="1261832" cy="76944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44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1</a:t>
            </a:r>
            <a:endParaRPr lang="ko-KR" altLang="en-US" sz="44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="" xmlns:a16="http://schemas.microsoft.com/office/drawing/2014/main" id="{04D0F18A-8267-4609-A86E-62435FF23B76}"/>
              </a:ext>
            </a:extLst>
          </p:cNvPr>
          <p:cNvSpPr txBox="1"/>
          <p:nvPr/>
        </p:nvSpPr>
        <p:spPr>
          <a:xfrm>
            <a:off x="5619587" y="2767752"/>
            <a:ext cx="4691052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3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Схема подання вмісту</a:t>
            </a:r>
            <a:endParaRPr lang="ko-KR" altLang="en-US" sz="32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="" xmlns:a16="http://schemas.microsoft.com/office/drawing/2014/main" id="{E85D452A-41DD-42B4-A5C6-3ADFCB241D47}"/>
              </a:ext>
            </a:extLst>
          </p:cNvPr>
          <p:cNvSpPr txBox="1"/>
          <p:nvPr/>
        </p:nvSpPr>
        <p:spPr>
          <a:xfrm>
            <a:off x="5776341" y="4582228"/>
            <a:ext cx="4691052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3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Фізичне розміщення</a:t>
            </a:r>
            <a:endParaRPr lang="ko-KR" altLang="en-US" sz="32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="" xmlns:a16="http://schemas.microsoft.com/office/drawing/2014/main" id="{ADF0E305-0B19-41F1-B4AD-EC098E17F008}"/>
              </a:ext>
            </a:extLst>
          </p:cNvPr>
          <p:cNvSpPr txBox="1"/>
          <p:nvPr/>
        </p:nvSpPr>
        <p:spPr>
          <a:xfrm>
            <a:off x="4754886" y="1876956"/>
            <a:ext cx="6479177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uk-UA" altLang="ko-KR" sz="3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Спосіб взаємодії користувачів</a:t>
            </a:r>
            <a:endParaRPr lang="ko-KR" altLang="en-US" sz="32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="" xmlns:a16="http://schemas.microsoft.com/office/drawing/2014/main" id="{75A06ECD-0FF7-4693-914B-AD25B512E478}"/>
              </a:ext>
            </a:extLst>
          </p:cNvPr>
          <p:cNvSpPr txBox="1"/>
          <p:nvPr/>
        </p:nvSpPr>
        <p:spPr>
          <a:xfrm>
            <a:off x="5617030" y="5467979"/>
            <a:ext cx="4691052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ru-RU" altLang="ko-KR" sz="3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Природа </a:t>
            </a:r>
            <a:r>
              <a:rPr lang="ru-RU" altLang="ko-KR" sz="3200" b="1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вмісту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="" xmlns:a16="http://schemas.microsoft.com/office/drawing/2014/main" id="{18E97443-D486-4981-9B4B-EA527111495D}"/>
              </a:ext>
            </a:extLst>
          </p:cNvPr>
          <p:cNvSpPr txBox="1"/>
          <p:nvPr/>
        </p:nvSpPr>
        <p:spPr>
          <a:xfrm>
            <a:off x="5776343" y="3729356"/>
            <a:ext cx="4691052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1219170" latinLnBrk="1"/>
            <a:r>
              <a:rPr lang="ru-RU" altLang="ko-KR" sz="3200" b="1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Доступність</a:t>
            </a:r>
            <a:r>
              <a:rPr lang="ru-RU" altLang="ko-KR" sz="3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 </a:t>
            </a:r>
            <a:r>
              <a:rPr lang="ru-RU" altLang="ko-KR" sz="3200" b="1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сервісів</a:t>
            </a:r>
            <a:endParaRPr lang="ru-RU" altLang="ko-KR" sz="3200" b="1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979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14469" y="298114"/>
            <a:ext cx="10128448" cy="1035373"/>
          </a:xfrm>
        </p:spPr>
        <p:txBody>
          <a:bodyPr/>
          <a:lstStyle/>
          <a:p>
            <a:r>
              <a:rPr lang="uk-UA" sz="6400" dirty="0"/>
              <a:t>Доступність серверів</a:t>
            </a:r>
            <a:endParaRPr lang="ru-RU" sz="6400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032001" y="1619237"/>
          <a:ext cx="8128000" cy="4519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61885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3552" y="476231"/>
            <a:ext cx="10128448" cy="1035373"/>
          </a:xfrm>
        </p:spPr>
        <p:txBody>
          <a:bodyPr/>
          <a:lstStyle/>
          <a:p>
            <a:r>
              <a:rPr lang="uk-UA" sz="6400" dirty="0"/>
              <a:t>Природа вмісту сайту</a:t>
            </a:r>
            <a:endParaRPr lang="ru-RU" sz="6400" dirty="0"/>
          </a:p>
        </p:txBody>
      </p:sp>
      <p:graphicFrame>
        <p:nvGraphicFramePr>
          <p:cNvPr id="3" name="Схема 2"/>
          <p:cNvGraphicFramePr/>
          <p:nvPr/>
        </p:nvGraphicFramePr>
        <p:xfrm>
          <a:off x="2285974" y="1809739"/>
          <a:ext cx="8128000" cy="4751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46983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 Slide Master">
  <a:themeElements>
    <a:clrScheme name="ALLPPT-COLOR-A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76B1D1"/>
      </a:accent1>
      <a:accent2>
        <a:srgbClr val="A0C358"/>
      </a:accent2>
      <a:accent3>
        <a:srgbClr val="F3C04A"/>
      </a:accent3>
      <a:accent4>
        <a:srgbClr val="F26D9A"/>
      </a:accent4>
      <a:accent5>
        <a:srgbClr val="57687C"/>
      </a:accent5>
      <a:accent6>
        <a:srgbClr val="CBCBCB"/>
      </a:accent6>
      <a:hlink>
        <a:srgbClr val="3F3F3F"/>
      </a:hlink>
      <a:folHlink>
        <a:srgbClr val="3F3F3F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Изящная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Custom 20">
      <a:dk1>
        <a:sysClr val="windowText" lastClr="000000"/>
      </a:dk1>
      <a:lt1>
        <a:sysClr val="window" lastClr="FFFFFF"/>
      </a:lt1>
      <a:dk2>
        <a:srgbClr val="FFFFFF"/>
      </a:dk2>
      <a:lt2>
        <a:srgbClr val="EEECE1"/>
      </a:lt2>
      <a:accent1>
        <a:srgbClr val="0070C0"/>
      </a:accent1>
      <a:accent2>
        <a:srgbClr val="0000FF"/>
      </a:accent2>
      <a:accent3>
        <a:srgbClr val="0058E9"/>
      </a:accent3>
      <a:accent4>
        <a:srgbClr val="791038"/>
      </a:accent4>
      <a:accent5>
        <a:srgbClr val="EF8F21"/>
      </a:accent5>
      <a:accent6>
        <a:srgbClr val="0090C4"/>
      </a:accent6>
      <a:hlink>
        <a:srgbClr val="0000FF"/>
      </a:hlink>
      <a:folHlink>
        <a:srgbClr val="800080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1775</TotalTime>
  <Words>937</Words>
  <Application>Microsoft Office PowerPoint</Application>
  <PresentationFormat>Произвольный</PresentationFormat>
  <Paragraphs>293</Paragraphs>
  <Slides>41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1</vt:i4>
      </vt:variant>
    </vt:vector>
  </HeadingPairs>
  <TitlesOfParts>
    <vt:vector size="47" baseType="lpstr">
      <vt:lpstr>Тема Office</vt:lpstr>
      <vt:lpstr>Contents Slide Master</vt:lpstr>
      <vt:lpstr>1_Тема Office</vt:lpstr>
      <vt:lpstr>Office Theme</vt:lpstr>
      <vt:lpstr>1_Office Theme</vt:lpstr>
      <vt:lpstr>think-cell Slide</vt:lpstr>
      <vt:lpstr>Слайд 1</vt:lpstr>
      <vt:lpstr>Сучасний Інтернет</vt:lpstr>
      <vt:lpstr>Цікава інтернет статистика</vt:lpstr>
      <vt:lpstr>Слайд 4</vt:lpstr>
      <vt:lpstr>Слайд 5</vt:lpstr>
      <vt:lpstr>Слайд 6</vt:lpstr>
      <vt:lpstr>Ознаки класифікації сайтів</vt:lpstr>
      <vt:lpstr>Доступність серверів</vt:lpstr>
      <vt:lpstr>Природа вмісту сайту</vt:lpstr>
      <vt:lpstr>Слайд 10</vt:lpstr>
      <vt:lpstr>Способи взаємодії користувача з сайтом </vt:lpstr>
      <vt:lpstr>Фізичне розміщення сайтів</vt:lpstr>
      <vt:lpstr>За схемою подання вмісту</vt:lpstr>
      <vt:lpstr>Слайд 14</vt:lpstr>
      <vt:lpstr>Сайти можна також поділити на:</vt:lpstr>
      <vt:lpstr>Персональні сайти</vt:lpstr>
      <vt:lpstr>Комерційні сайти</vt:lpstr>
      <vt:lpstr>Некомерційні сайти</vt:lpstr>
      <vt:lpstr>Слайд 19</vt:lpstr>
      <vt:lpstr>Контент</vt:lpstr>
      <vt:lpstr>Слайд 21</vt:lpstr>
      <vt:lpstr>Слайд 22</vt:lpstr>
      <vt:lpstr>Слайд 23</vt:lpstr>
      <vt:lpstr>Слайд 24</vt:lpstr>
      <vt:lpstr>Слайд 25</vt:lpstr>
      <vt:lpstr>Слайд 26</vt:lpstr>
      <vt:lpstr>Означення</vt:lpstr>
      <vt:lpstr>Слайд 28</vt:lpstr>
      <vt:lpstr>Теги</vt:lpstr>
      <vt:lpstr>Слайд 30</vt:lpstr>
      <vt:lpstr>Структура HTML-документа</vt:lpstr>
      <vt:lpstr>Слайд 32</vt:lpstr>
      <vt:lpstr>Слайд 33</vt:lpstr>
      <vt:lpstr>Структура HTML-файлу</vt:lpstr>
      <vt:lpstr>Практична робота</vt:lpstr>
      <vt:lpstr>Алгоритм виконання практичної роботи:</vt:lpstr>
      <vt:lpstr>Алгоритм виконання практичної роботи:</vt:lpstr>
      <vt:lpstr>Алгоритм виконання практичної роботи:</vt:lpstr>
      <vt:lpstr>Алгоритм виконання практичної роботи:</vt:lpstr>
      <vt:lpstr>Завдання на самостійну підготовку:</vt:lpstr>
      <vt:lpstr>Пригадайте</vt:lpstr>
    </vt:vector>
  </TitlesOfParts>
  <Company>PJSC "New Engineering Technologies"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Markasian, Pavel (KIEVH)</dc:creator>
  <cp:lastModifiedBy>ВОЛЗПВФП</cp:lastModifiedBy>
  <cp:revision>575</cp:revision>
  <dcterms:created xsi:type="dcterms:W3CDTF">2016-11-18T14:12:19Z</dcterms:created>
  <dcterms:modified xsi:type="dcterms:W3CDTF">2021-04-23T06:36:12Z</dcterms:modified>
</cp:coreProperties>
</file>